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7"/>
  </p:notesMasterIdLst>
  <p:sldIdLst>
    <p:sldId id="279" r:id="rId5"/>
    <p:sldId id="280" r:id="rId6"/>
  </p:sldIdLst>
  <p:sldSz cx="6858000" cy="9906000" type="A4"/>
  <p:notesSz cx="6858000" cy="9945688"/>
  <p:custDataLst>
    <p:tags r:id="rId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ORTOMB Frederic" initials="DF" lastIdx="2" clrIdx="0">
    <p:extLst>
      <p:ext uri="{19B8F6BF-5375-455C-9EA6-DF929625EA0E}">
        <p15:presenceInfo xmlns:p15="http://schemas.microsoft.com/office/powerpoint/2012/main" userId="S::A137JF@login.axa::961958c9-6f45-4a80-b51c-03b01cd8ab6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CC"/>
    <a:srgbClr val="8FAADC"/>
    <a:srgbClr val="243488"/>
    <a:srgbClr val="93C42D"/>
    <a:srgbClr val="90C227"/>
    <a:srgbClr val="90C228"/>
    <a:srgbClr val="B6D672"/>
    <a:srgbClr val="F8F8F8"/>
    <a:srgbClr val="F18672"/>
    <a:srgbClr val="92C3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534779-6383-433B-B8F6-AF37D7646425}" v="62" dt="2022-07-12T12:19:57.92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2838BEF-8BB2-4498-84A7-C5851F593DF1}" styleName="Style moyen 4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C4B1156A-380E-4F78-BDF5-A606A8083BF9}" styleName="Style moyen 4 - Accentuation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DBED569-4797-4DF1-A0F4-6AAB3CD982D8}" styleName="Style léger 3 - Accentuation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66" d="100"/>
          <a:sy n="66" d="100"/>
        </p:scale>
        <p:origin x="1752" y="-6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OMBE Ange Yannick" userId="S::a156mv@login.axa::35bb82ce-b081-4959-84fb-2a2932442850" providerId="AD" clId="Web-{9A05A683-0483-F210-9BB2-D4E7FFF5A6B0}"/>
    <pc:docChg chg="modSld">
      <pc:chgData name="KOMBE Ange Yannick" userId="S::a156mv@login.axa::35bb82ce-b081-4959-84fb-2a2932442850" providerId="AD" clId="Web-{9A05A683-0483-F210-9BB2-D4E7FFF5A6B0}" dt="2022-06-17T10:11:25.034" v="4" actId="20577"/>
      <pc:docMkLst>
        <pc:docMk/>
      </pc:docMkLst>
      <pc:sldChg chg="modSp">
        <pc:chgData name="KOMBE Ange Yannick" userId="S::a156mv@login.axa::35bb82ce-b081-4959-84fb-2a2932442850" providerId="AD" clId="Web-{9A05A683-0483-F210-9BB2-D4E7FFF5A6B0}" dt="2022-06-17T10:09:01.344" v="1" actId="20577"/>
        <pc:sldMkLst>
          <pc:docMk/>
          <pc:sldMk cId="2359043163" sldId="275"/>
        </pc:sldMkLst>
        <pc:spChg chg="mod">
          <ac:chgData name="KOMBE Ange Yannick" userId="S::a156mv@login.axa::35bb82ce-b081-4959-84fb-2a2932442850" providerId="AD" clId="Web-{9A05A683-0483-F210-9BB2-D4E7FFF5A6B0}" dt="2022-06-17T10:09:01.344" v="1" actId="20577"/>
          <ac:spMkLst>
            <pc:docMk/>
            <pc:sldMk cId="2359043163" sldId="275"/>
            <ac:spMk id="56" creationId="{37D8FB33-3C2C-4049-937B-EA730E47E164}"/>
          </ac:spMkLst>
        </pc:spChg>
      </pc:sldChg>
      <pc:sldChg chg="modSp">
        <pc:chgData name="KOMBE Ange Yannick" userId="S::a156mv@login.axa::35bb82ce-b081-4959-84fb-2a2932442850" providerId="AD" clId="Web-{9A05A683-0483-F210-9BB2-D4E7FFF5A6B0}" dt="2022-06-17T10:11:25.034" v="4" actId="20577"/>
        <pc:sldMkLst>
          <pc:docMk/>
          <pc:sldMk cId="263765170" sldId="279"/>
        </pc:sldMkLst>
        <pc:spChg chg="mod">
          <ac:chgData name="KOMBE Ange Yannick" userId="S::a156mv@login.axa::35bb82ce-b081-4959-84fb-2a2932442850" providerId="AD" clId="Web-{9A05A683-0483-F210-9BB2-D4E7FFF5A6B0}" dt="2022-06-17T10:11:25.034" v="4" actId="20577"/>
          <ac:spMkLst>
            <pc:docMk/>
            <pc:sldMk cId="263765170" sldId="279"/>
            <ac:spMk id="22" creationId="{AF807B32-7854-4555-8207-A55854D37866}"/>
          </ac:spMkLst>
        </pc:spChg>
      </pc:sldChg>
    </pc:docChg>
  </pc:docChgLst>
  <pc:docChgLst>
    <pc:chgData name="KOMBE Ange Yannick" userId="S::a156mv@login.axa::35bb82ce-b081-4959-84fb-2a2932442850" providerId="AD" clId="Web-{21D0A434-F9A6-5B03-38F2-8670A01483C7}"/>
    <pc:docChg chg="modSld">
      <pc:chgData name="KOMBE Ange Yannick" userId="S::a156mv@login.axa::35bb82ce-b081-4959-84fb-2a2932442850" providerId="AD" clId="Web-{21D0A434-F9A6-5B03-38F2-8670A01483C7}" dt="2022-07-05T09:24:58" v="0" actId="14100"/>
      <pc:docMkLst>
        <pc:docMk/>
      </pc:docMkLst>
      <pc:sldChg chg="modSp">
        <pc:chgData name="KOMBE Ange Yannick" userId="S::a156mv@login.axa::35bb82ce-b081-4959-84fb-2a2932442850" providerId="AD" clId="Web-{21D0A434-F9A6-5B03-38F2-8670A01483C7}" dt="2022-07-05T09:24:58" v="0" actId="14100"/>
        <pc:sldMkLst>
          <pc:docMk/>
          <pc:sldMk cId="2425911984" sldId="281"/>
        </pc:sldMkLst>
        <pc:picChg chg="mod">
          <ac:chgData name="KOMBE Ange Yannick" userId="S::a156mv@login.axa::35bb82ce-b081-4959-84fb-2a2932442850" providerId="AD" clId="Web-{21D0A434-F9A6-5B03-38F2-8670A01483C7}" dt="2022-07-05T09:24:58" v="0" actId="14100"/>
          <ac:picMkLst>
            <pc:docMk/>
            <pc:sldMk cId="2425911984" sldId="281"/>
            <ac:picMk id="26" creationId="{E449B0C3-F525-479D-B7E4-A84F7926A54A}"/>
          </ac:picMkLst>
        </pc:picChg>
      </pc:sldChg>
    </pc:docChg>
  </pc:docChgLst>
  <pc:docChgLst>
    <pc:chgData name="TIXIER Francois" userId="776a6eeb-52e0-4e7d-86f2-ecfd5b5be952" providerId="ADAL" clId="{D1E11223-43E8-4EF5-9385-EC9E52D4A9B6}"/>
    <pc:docChg chg="undo custSel addSld delSld modSld">
      <pc:chgData name="TIXIER Francois" userId="776a6eeb-52e0-4e7d-86f2-ecfd5b5be952" providerId="ADAL" clId="{D1E11223-43E8-4EF5-9385-EC9E52D4A9B6}" dt="2022-06-20T06:55:28.631" v="6353" actId="21"/>
      <pc:docMkLst>
        <pc:docMk/>
      </pc:docMkLst>
      <pc:sldChg chg="del">
        <pc:chgData name="TIXIER Francois" userId="776a6eeb-52e0-4e7d-86f2-ecfd5b5be952" providerId="ADAL" clId="{D1E11223-43E8-4EF5-9385-EC9E52D4A9B6}" dt="2022-06-17T07:58:36.266" v="313" actId="47"/>
        <pc:sldMkLst>
          <pc:docMk/>
          <pc:sldMk cId="489060114" sldId="268"/>
        </pc:sldMkLst>
      </pc:sldChg>
      <pc:sldChg chg="addSp delSp modSp mod">
        <pc:chgData name="TIXIER Francois" userId="776a6eeb-52e0-4e7d-86f2-ecfd5b5be952" providerId="ADAL" clId="{D1E11223-43E8-4EF5-9385-EC9E52D4A9B6}" dt="2022-06-17T16:26:20.504" v="6328" actId="1076"/>
        <pc:sldMkLst>
          <pc:docMk/>
          <pc:sldMk cId="2359043163" sldId="275"/>
        </pc:sldMkLst>
        <pc:spChg chg="add del mod">
          <ac:chgData name="TIXIER Francois" userId="776a6eeb-52e0-4e7d-86f2-ecfd5b5be952" providerId="ADAL" clId="{D1E11223-43E8-4EF5-9385-EC9E52D4A9B6}" dt="2022-06-17T16:20:35.168" v="6037" actId="478"/>
          <ac:spMkLst>
            <pc:docMk/>
            <pc:sldMk cId="2359043163" sldId="275"/>
            <ac:spMk id="2" creationId="{EEB3EE40-655F-4E2A-A1F7-F2F556830311}"/>
          </ac:spMkLst>
        </pc:spChg>
        <pc:spChg chg="add mod">
          <ac:chgData name="TIXIER Francois" userId="776a6eeb-52e0-4e7d-86f2-ecfd5b5be952" providerId="ADAL" clId="{D1E11223-43E8-4EF5-9385-EC9E52D4A9B6}" dt="2022-06-17T16:26:20.504" v="6328" actId="1076"/>
          <ac:spMkLst>
            <pc:docMk/>
            <pc:sldMk cId="2359043163" sldId="275"/>
            <ac:spMk id="3" creationId="{8BEA6A75-A1AB-4AF6-A3C8-01AA28DAE025}"/>
          </ac:spMkLst>
        </pc:spChg>
        <pc:spChg chg="add del mod">
          <ac:chgData name="TIXIER Francois" userId="776a6eeb-52e0-4e7d-86f2-ecfd5b5be952" providerId="ADAL" clId="{D1E11223-43E8-4EF5-9385-EC9E52D4A9B6}" dt="2022-06-17T16:20:35.168" v="6037" actId="478"/>
          <ac:spMkLst>
            <pc:docMk/>
            <pc:sldMk cId="2359043163" sldId="275"/>
            <ac:spMk id="18" creationId="{9DE06FC5-F1AE-4F74-91B2-B97F0B7F1FD9}"/>
          </ac:spMkLst>
        </pc:spChg>
        <pc:spChg chg="add mod">
          <ac:chgData name="TIXIER Francois" userId="776a6eeb-52e0-4e7d-86f2-ecfd5b5be952" providerId="ADAL" clId="{D1E11223-43E8-4EF5-9385-EC9E52D4A9B6}" dt="2022-06-17T16:23:27.452" v="6046" actId="1076"/>
          <ac:spMkLst>
            <pc:docMk/>
            <pc:sldMk cId="2359043163" sldId="275"/>
            <ac:spMk id="19" creationId="{22530049-1AF8-435C-AD2F-2DC5726CB30A}"/>
          </ac:spMkLst>
        </pc:spChg>
        <pc:spChg chg="add mod">
          <ac:chgData name="TIXIER Francois" userId="776a6eeb-52e0-4e7d-86f2-ecfd5b5be952" providerId="ADAL" clId="{D1E11223-43E8-4EF5-9385-EC9E52D4A9B6}" dt="2022-06-17T16:24:28.994" v="6099" actId="122"/>
          <ac:spMkLst>
            <pc:docMk/>
            <pc:sldMk cId="2359043163" sldId="275"/>
            <ac:spMk id="22" creationId="{94ED0749-EE75-418D-9580-DFBD72C539E3}"/>
          </ac:spMkLst>
        </pc:spChg>
        <pc:spChg chg="add del mod">
          <ac:chgData name="TIXIER Francois" userId="776a6eeb-52e0-4e7d-86f2-ecfd5b5be952" providerId="ADAL" clId="{D1E11223-43E8-4EF5-9385-EC9E52D4A9B6}" dt="2022-06-17T16:23:30.915" v="6047" actId="478"/>
          <ac:spMkLst>
            <pc:docMk/>
            <pc:sldMk cId="2359043163" sldId="275"/>
            <ac:spMk id="23" creationId="{DCA7BC27-0330-4CF5-93B4-C3E16421CE6D}"/>
          </ac:spMkLst>
        </pc:spChg>
        <pc:spChg chg="add del mod">
          <ac:chgData name="TIXIER Francois" userId="776a6eeb-52e0-4e7d-86f2-ecfd5b5be952" providerId="ADAL" clId="{D1E11223-43E8-4EF5-9385-EC9E52D4A9B6}" dt="2022-06-17T16:23:30.915" v="6047" actId="478"/>
          <ac:spMkLst>
            <pc:docMk/>
            <pc:sldMk cId="2359043163" sldId="275"/>
            <ac:spMk id="24" creationId="{2A0812D3-6B9D-46DE-930F-4E0C397BB81A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24" creationId="{40643471-47BE-4832-87E3-C4F5AA59F8B8}"/>
          </ac:spMkLst>
        </pc:spChg>
        <pc:spChg chg="add mod">
          <ac:chgData name="TIXIER Francois" userId="776a6eeb-52e0-4e7d-86f2-ecfd5b5be952" providerId="ADAL" clId="{D1E11223-43E8-4EF5-9385-EC9E52D4A9B6}" dt="2022-06-17T16:22:52.051" v="6043" actId="1076"/>
          <ac:spMkLst>
            <pc:docMk/>
            <pc:sldMk cId="2359043163" sldId="275"/>
            <ac:spMk id="25" creationId="{22B027F3-CE0E-474A-8CBF-CCE6093C2D1E}"/>
          </ac:spMkLst>
        </pc:spChg>
        <pc:spChg chg="del mod">
          <ac:chgData name="TIXIER Francois" userId="776a6eeb-52e0-4e7d-86f2-ecfd5b5be952" providerId="ADAL" clId="{D1E11223-43E8-4EF5-9385-EC9E52D4A9B6}" dt="2022-06-17T08:42:11.400" v="2833" actId="478"/>
          <ac:spMkLst>
            <pc:docMk/>
            <pc:sldMk cId="2359043163" sldId="275"/>
            <ac:spMk id="25" creationId="{CED925F7-F52A-42F5-94E4-90077A86E959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26" creationId="{54187E2B-BF27-474D-B75F-019836CC8F44}"/>
          </ac:spMkLst>
        </pc:spChg>
        <pc:spChg chg="add mod">
          <ac:chgData name="TIXIER Francois" userId="776a6eeb-52e0-4e7d-86f2-ecfd5b5be952" providerId="ADAL" clId="{D1E11223-43E8-4EF5-9385-EC9E52D4A9B6}" dt="2022-06-17T16:23:27.452" v="6046" actId="1076"/>
          <ac:spMkLst>
            <pc:docMk/>
            <pc:sldMk cId="2359043163" sldId="275"/>
            <ac:spMk id="26" creationId="{74608986-F30D-4193-8AA5-2D4F505F3CD0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29" creationId="{8F11E284-D46F-4F5D-8A40-76DF1820D6A9}"/>
          </ac:spMkLst>
        </pc:spChg>
        <pc:spChg chg="add mod">
          <ac:chgData name="TIXIER Francois" userId="776a6eeb-52e0-4e7d-86f2-ecfd5b5be952" providerId="ADAL" clId="{D1E11223-43E8-4EF5-9385-EC9E52D4A9B6}" dt="2022-06-17T16:23:03.439" v="6044" actId="1076"/>
          <ac:spMkLst>
            <pc:docMk/>
            <pc:sldMk cId="2359043163" sldId="275"/>
            <ac:spMk id="29" creationId="{DD828CCD-FCF1-4A29-83AC-39D9CF8AE16F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30" creationId="{FF34CE08-30C9-4696-80A1-E9A0C4A05FA0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31" creationId="{1E90E83B-5821-4293-98E9-6F3AEE413808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32" creationId="{7095CA87-7742-4656-B553-52266E4C647F}"/>
          </ac:spMkLst>
        </pc:spChg>
        <pc:spChg chg="del">
          <ac:chgData name="TIXIER Francois" userId="776a6eeb-52e0-4e7d-86f2-ecfd5b5be952" providerId="ADAL" clId="{D1E11223-43E8-4EF5-9385-EC9E52D4A9B6}" dt="2022-06-17T08:39:52.752" v="2790" actId="478"/>
          <ac:spMkLst>
            <pc:docMk/>
            <pc:sldMk cId="2359043163" sldId="275"/>
            <ac:spMk id="33" creationId="{67A817BF-3807-4EA2-9AE5-2D567E8CFEA8}"/>
          </ac:spMkLst>
        </pc:spChg>
        <pc:spChg chg="mod">
          <ac:chgData name="TIXIER Francois" userId="776a6eeb-52e0-4e7d-86f2-ecfd5b5be952" providerId="ADAL" clId="{D1E11223-43E8-4EF5-9385-EC9E52D4A9B6}" dt="2022-06-17T16:20:46.791" v="6040" actId="1076"/>
          <ac:spMkLst>
            <pc:docMk/>
            <pc:sldMk cId="2359043163" sldId="275"/>
            <ac:spMk id="36" creationId="{C3E3DFC9-C19A-43A9-9C22-F47D256B92F5}"/>
          </ac:spMkLst>
        </pc:spChg>
        <pc:spChg chg="mod">
          <ac:chgData name="TIXIER Francois" userId="776a6eeb-52e0-4e7d-86f2-ecfd5b5be952" providerId="ADAL" clId="{D1E11223-43E8-4EF5-9385-EC9E52D4A9B6}" dt="2022-06-17T16:20:46.791" v="6040" actId="1076"/>
          <ac:spMkLst>
            <pc:docMk/>
            <pc:sldMk cId="2359043163" sldId="275"/>
            <ac:spMk id="39" creationId="{80643473-3EE3-4CA2-8CCA-3EB7626C95EB}"/>
          </ac:spMkLst>
        </pc:spChg>
        <pc:spChg chg="del mod">
          <ac:chgData name="TIXIER Francois" userId="776a6eeb-52e0-4e7d-86f2-ecfd5b5be952" providerId="ADAL" clId="{D1E11223-43E8-4EF5-9385-EC9E52D4A9B6}" dt="2022-06-17T16:20:37.472" v="6038" actId="478"/>
          <ac:spMkLst>
            <pc:docMk/>
            <pc:sldMk cId="2359043163" sldId="275"/>
            <ac:spMk id="40" creationId="{CCA8860A-4880-4BAC-BBFC-7296F53DFDBB}"/>
          </ac:spMkLst>
        </pc:spChg>
        <pc:spChg chg="del">
          <ac:chgData name="TIXIER Francois" userId="776a6eeb-52e0-4e7d-86f2-ecfd5b5be952" providerId="ADAL" clId="{D1E11223-43E8-4EF5-9385-EC9E52D4A9B6}" dt="2022-06-17T08:04:50.689" v="444" actId="478"/>
          <ac:spMkLst>
            <pc:docMk/>
            <pc:sldMk cId="2359043163" sldId="275"/>
            <ac:spMk id="41" creationId="{4A5D430C-F133-4EB6-9964-3D05073AF6A5}"/>
          </ac:spMkLst>
        </pc:spChg>
        <pc:spChg chg="del mod">
          <ac:chgData name="TIXIER Francois" userId="776a6eeb-52e0-4e7d-86f2-ecfd5b5be952" providerId="ADAL" clId="{D1E11223-43E8-4EF5-9385-EC9E52D4A9B6}" dt="2022-06-17T16:20:35.168" v="6037" actId="478"/>
          <ac:spMkLst>
            <pc:docMk/>
            <pc:sldMk cId="2359043163" sldId="275"/>
            <ac:spMk id="43" creationId="{2EFFF231-9757-40D1-9CDD-D8A613EC753D}"/>
          </ac:spMkLst>
        </pc:spChg>
        <pc:spChg chg="del">
          <ac:chgData name="TIXIER Francois" userId="776a6eeb-52e0-4e7d-86f2-ecfd5b5be952" providerId="ADAL" clId="{D1E11223-43E8-4EF5-9385-EC9E52D4A9B6}" dt="2022-06-17T08:04:29.456" v="441" actId="478"/>
          <ac:spMkLst>
            <pc:docMk/>
            <pc:sldMk cId="2359043163" sldId="275"/>
            <ac:spMk id="44" creationId="{7AA184DC-254F-4416-8346-E5FCF602478F}"/>
          </ac:spMkLst>
        </pc:spChg>
        <pc:spChg chg="del mod">
          <ac:chgData name="TIXIER Francois" userId="776a6eeb-52e0-4e7d-86f2-ecfd5b5be952" providerId="ADAL" clId="{D1E11223-43E8-4EF5-9385-EC9E52D4A9B6}" dt="2022-06-17T08:40:38.592" v="2794" actId="478"/>
          <ac:spMkLst>
            <pc:docMk/>
            <pc:sldMk cId="2359043163" sldId="275"/>
            <ac:spMk id="45" creationId="{561FF896-9186-48A6-8A38-BE2A47481AC9}"/>
          </ac:spMkLst>
        </pc:spChg>
        <pc:spChg chg="del mod">
          <ac:chgData name="TIXIER Francois" userId="776a6eeb-52e0-4e7d-86f2-ecfd5b5be952" providerId="ADAL" clId="{D1E11223-43E8-4EF5-9385-EC9E52D4A9B6}" dt="2022-06-17T08:40:41.467" v="2795" actId="478"/>
          <ac:spMkLst>
            <pc:docMk/>
            <pc:sldMk cId="2359043163" sldId="275"/>
            <ac:spMk id="46" creationId="{98892748-7081-4C20-ABC0-4144D84DE3D3}"/>
          </ac:spMkLst>
        </pc:spChg>
        <pc:spChg chg="del">
          <ac:chgData name="TIXIER Francois" userId="776a6eeb-52e0-4e7d-86f2-ecfd5b5be952" providerId="ADAL" clId="{D1E11223-43E8-4EF5-9385-EC9E52D4A9B6}" dt="2022-06-17T08:04:34.721" v="442" actId="478"/>
          <ac:spMkLst>
            <pc:docMk/>
            <pc:sldMk cId="2359043163" sldId="275"/>
            <ac:spMk id="47" creationId="{5C7173B8-F164-4808-BA46-DDDE03837299}"/>
          </ac:spMkLst>
        </pc:spChg>
        <pc:spChg chg="del">
          <ac:chgData name="TIXIER Francois" userId="776a6eeb-52e0-4e7d-86f2-ecfd5b5be952" providerId="ADAL" clId="{D1E11223-43E8-4EF5-9385-EC9E52D4A9B6}" dt="2022-06-17T08:04:25.063" v="440" actId="478"/>
          <ac:spMkLst>
            <pc:docMk/>
            <pc:sldMk cId="2359043163" sldId="275"/>
            <ac:spMk id="48" creationId="{DFDFC62E-791E-44BA-9C12-BCF4EA49AC42}"/>
          </ac:spMkLst>
        </pc:spChg>
        <pc:spChg chg="del mod">
          <ac:chgData name="TIXIER Francois" userId="776a6eeb-52e0-4e7d-86f2-ecfd5b5be952" providerId="ADAL" clId="{D1E11223-43E8-4EF5-9385-EC9E52D4A9B6}" dt="2022-06-17T08:40:44.879" v="2796" actId="478"/>
          <ac:spMkLst>
            <pc:docMk/>
            <pc:sldMk cId="2359043163" sldId="275"/>
            <ac:spMk id="49" creationId="{FB8F205F-CC51-4883-8C10-37158BD02887}"/>
          </ac:spMkLst>
        </pc:spChg>
        <pc:spChg chg="del">
          <ac:chgData name="TIXIER Francois" userId="776a6eeb-52e0-4e7d-86f2-ecfd5b5be952" providerId="ADAL" clId="{D1E11223-43E8-4EF5-9385-EC9E52D4A9B6}" dt="2022-06-17T08:04:38.977" v="443" actId="478"/>
          <ac:spMkLst>
            <pc:docMk/>
            <pc:sldMk cId="2359043163" sldId="275"/>
            <ac:spMk id="50" creationId="{205CB7DC-91CC-4545-A255-1F26C78536D0}"/>
          </ac:spMkLst>
        </pc:spChg>
        <pc:spChg chg="add del mod">
          <ac:chgData name="TIXIER Francois" userId="776a6eeb-52e0-4e7d-86f2-ecfd5b5be952" providerId="ADAL" clId="{D1E11223-43E8-4EF5-9385-EC9E52D4A9B6}" dt="2022-06-17T08:01:41.795" v="391" actId="478"/>
          <ac:spMkLst>
            <pc:docMk/>
            <pc:sldMk cId="2359043163" sldId="275"/>
            <ac:spMk id="51" creationId="{201C8AF2-42B8-4263-A719-2C5F145B24C7}"/>
          </ac:spMkLst>
        </pc:spChg>
        <pc:spChg chg="add del mod">
          <ac:chgData name="TIXIER Francois" userId="776a6eeb-52e0-4e7d-86f2-ecfd5b5be952" providerId="ADAL" clId="{D1E11223-43E8-4EF5-9385-EC9E52D4A9B6}" dt="2022-06-17T16:20:40.152" v="6039" actId="478"/>
          <ac:spMkLst>
            <pc:docMk/>
            <pc:sldMk cId="2359043163" sldId="275"/>
            <ac:spMk id="52" creationId="{934899C9-6915-46F6-A4C8-0CDE116C5CA2}"/>
          </ac:spMkLst>
        </pc:spChg>
        <pc:spChg chg="add mod">
          <ac:chgData name="TIXIER Francois" userId="776a6eeb-52e0-4e7d-86f2-ecfd5b5be952" providerId="ADAL" clId="{D1E11223-43E8-4EF5-9385-EC9E52D4A9B6}" dt="2022-06-17T08:42:24.277" v="2835" actId="1076"/>
          <ac:spMkLst>
            <pc:docMk/>
            <pc:sldMk cId="2359043163" sldId="275"/>
            <ac:spMk id="53" creationId="{EF7EDCBB-A315-4535-BF63-420584119B9B}"/>
          </ac:spMkLst>
        </pc:spChg>
        <pc:spChg chg="add mod">
          <ac:chgData name="TIXIER Francois" userId="776a6eeb-52e0-4e7d-86f2-ecfd5b5be952" providerId="ADAL" clId="{D1E11223-43E8-4EF5-9385-EC9E52D4A9B6}" dt="2022-06-17T08:44:21.566" v="2902" actId="20577"/>
          <ac:spMkLst>
            <pc:docMk/>
            <pc:sldMk cId="2359043163" sldId="275"/>
            <ac:spMk id="54" creationId="{850998A9-D4E6-453E-A209-4ADE26F43B56}"/>
          </ac:spMkLst>
        </pc:spChg>
        <pc:spChg chg="add mod">
          <ac:chgData name="TIXIER Francois" userId="776a6eeb-52e0-4e7d-86f2-ecfd5b5be952" providerId="ADAL" clId="{D1E11223-43E8-4EF5-9385-EC9E52D4A9B6}" dt="2022-06-17T15:35:39.744" v="6036" actId="6549"/>
          <ac:spMkLst>
            <pc:docMk/>
            <pc:sldMk cId="2359043163" sldId="275"/>
            <ac:spMk id="55" creationId="{9C2AF2A8-0C1C-4F87-93AF-FE2C37CEFDB1}"/>
          </ac:spMkLst>
        </pc:spChg>
        <pc:spChg chg="add mod">
          <ac:chgData name="TIXIER Francois" userId="776a6eeb-52e0-4e7d-86f2-ecfd5b5be952" providerId="ADAL" clId="{D1E11223-43E8-4EF5-9385-EC9E52D4A9B6}" dt="2022-06-17T08:50:59.789" v="3426" actId="20577"/>
          <ac:spMkLst>
            <pc:docMk/>
            <pc:sldMk cId="2359043163" sldId="275"/>
            <ac:spMk id="56" creationId="{37D8FB33-3C2C-4049-937B-EA730E47E164}"/>
          </ac:spMkLst>
        </pc:spChg>
        <pc:picChg chg="del">
          <ac:chgData name="TIXIER Francois" userId="776a6eeb-52e0-4e7d-86f2-ecfd5b5be952" providerId="ADAL" clId="{D1E11223-43E8-4EF5-9385-EC9E52D4A9B6}" dt="2022-06-17T08:39:52.752" v="2790" actId="478"/>
          <ac:picMkLst>
            <pc:docMk/>
            <pc:sldMk cId="2359043163" sldId="275"/>
            <ac:picMk id="3" creationId="{A1C0ADDC-6128-4BCE-B9D5-A9D36A6E2A6D}"/>
          </ac:picMkLst>
        </pc:picChg>
        <pc:picChg chg="del">
          <ac:chgData name="TIXIER Francois" userId="776a6eeb-52e0-4e7d-86f2-ecfd5b5be952" providerId="ADAL" clId="{D1E11223-43E8-4EF5-9385-EC9E52D4A9B6}" dt="2022-06-17T08:39:52.752" v="2790" actId="478"/>
          <ac:picMkLst>
            <pc:docMk/>
            <pc:sldMk cId="2359043163" sldId="275"/>
            <ac:picMk id="4" creationId="{2A98B504-1867-4451-B211-5820DFC077F2}"/>
          </ac:picMkLst>
        </pc:picChg>
        <pc:picChg chg="del">
          <ac:chgData name="TIXIER Francois" userId="776a6eeb-52e0-4e7d-86f2-ecfd5b5be952" providerId="ADAL" clId="{D1E11223-43E8-4EF5-9385-EC9E52D4A9B6}" dt="2022-06-17T07:59:53.268" v="388" actId="478"/>
          <ac:picMkLst>
            <pc:docMk/>
            <pc:sldMk cId="2359043163" sldId="275"/>
            <ac:picMk id="6" creationId="{0A0FDDB7-43EA-47F6-8E96-A43A21BA5F07}"/>
          </ac:picMkLst>
        </pc:picChg>
        <pc:picChg chg="add del">
          <ac:chgData name="TIXIER Francois" userId="776a6eeb-52e0-4e7d-86f2-ecfd5b5be952" providerId="ADAL" clId="{D1E11223-43E8-4EF5-9385-EC9E52D4A9B6}" dt="2022-06-17T08:02:55.212" v="432" actId="478"/>
          <ac:picMkLst>
            <pc:docMk/>
            <pc:sldMk cId="2359043163" sldId="275"/>
            <ac:picMk id="7" creationId="{9DA453A5-7E0C-4E82-B9F5-719DEA2CFCE0}"/>
          </ac:picMkLst>
        </pc:picChg>
        <pc:picChg chg="add del">
          <ac:chgData name="TIXIER Francois" userId="776a6eeb-52e0-4e7d-86f2-ecfd5b5be952" providerId="ADAL" clId="{D1E11223-43E8-4EF5-9385-EC9E52D4A9B6}" dt="2022-06-17T08:04:06.676" v="434" actId="478"/>
          <ac:picMkLst>
            <pc:docMk/>
            <pc:sldMk cId="2359043163" sldId="275"/>
            <ac:picMk id="8" creationId="{FB807412-406A-47DD-A61A-CCD1503135B1}"/>
          </ac:picMkLst>
        </pc:picChg>
        <pc:picChg chg="add mod">
          <ac:chgData name="TIXIER Francois" userId="776a6eeb-52e0-4e7d-86f2-ecfd5b5be952" providerId="ADAL" clId="{D1E11223-43E8-4EF5-9385-EC9E52D4A9B6}" dt="2022-06-17T16:20:46.791" v="6040" actId="1076"/>
          <ac:picMkLst>
            <pc:docMk/>
            <pc:sldMk cId="2359043163" sldId="275"/>
            <ac:picMk id="10" creationId="{0C817A30-A7D6-4363-8391-18DC18E5251A}"/>
          </ac:picMkLst>
        </pc:picChg>
        <pc:picChg chg="add mod">
          <ac:chgData name="TIXIER Francois" userId="776a6eeb-52e0-4e7d-86f2-ecfd5b5be952" providerId="ADAL" clId="{D1E11223-43E8-4EF5-9385-EC9E52D4A9B6}" dt="2022-06-17T08:43:43.702" v="2845" actId="1076"/>
          <ac:picMkLst>
            <pc:docMk/>
            <pc:sldMk cId="2359043163" sldId="275"/>
            <ac:picMk id="11" creationId="{DD511E6B-9220-4D9F-8FD9-518A1A747FC3}"/>
          </ac:picMkLst>
        </pc:picChg>
        <pc:picChg chg="add mod">
          <ac:chgData name="TIXIER Francois" userId="776a6eeb-52e0-4e7d-86f2-ecfd5b5be952" providerId="ADAL" clId="{D1E11223-43E8-4EF5-9385-EC9E52D4A9B6}" dt="2022-06-17T08:50:54.948" v="3424" actId="1076"/>
          <ac:picMkLst>
            <pc:docMk/>
            <pc:sldMk cId="2359043163" sldId="275"/>
            <ac:picMk id="12" creationId="{FA969208-74AA-429E-B845-F8F1C7CEF730}"/>
          </ac:picMkLst>
        </pc:picChg>
        <pc:picChg chg="add mod">
          <ac:chgData name="TIXIER Francois" userId="776a6eeb-52e0-4e7d-86f2-ecfd5b5be952" providerId="ADAL" clId="{D1E11223-43E8-4EF5-9385-EC9E52D4A9B6}" dt="2022-06-17T16:23:27.452" v="6046" actId="1076"/>
          <ac:picMkLst>
            <pc:docMk/>
            <pc:sldMk cId="2359043163" sldId="275"/>
            <ac:picMk id="20" creationId="{A9A5CD54-BC3E-4E76-B4C5-6D55FCB7054C}"/>
          </ac:picMkLst>
        </pc:picChg>
        <pc:picChg chg="add mod">
          <ac:chgData name="TIXIER Francois" userId="776a6eeb-52e0-4e7d-86f2-ecfd5b5be952" providerId="ADAL" clId="{D1E11223-43E8-4EF5-9385-EC9E52D4A9B6}" dt="2022-06-17T16:23:27.452" v="6046" actId="1076"/>
          <ac:picMkLst>
            <pc:docMk/>
            <pc:sldMk cId="2359043163" sldId="275"/>
            <ac:picMk id="21" creationId="{81E3CA0D-458E-469D-BD15-946C63C342E1}"/>
          </ac:picMkLst>
        </pc:picChg>
        <pc:picChg chg="del mod">
          <ac:chgData name="TIXIER Francois" userId="776a6eeb-52e0-4e7d-86f2-ecfd5b5be952" providerId="ADAL" clId="{D1E11223-43E8-4EF5-9385-EC9E52D4A9B6}" dt="2022-06-17T08:42:11.400" v="2833" actId="478"/>
          <ac:picMkLst>
            <pc:docMk/>
            <pc:sldMk cId="2359043163" sldId="275"/>
            <ac:picMk id="23" creationId="{C516B938-529B-4E2F-BF82-11E16671F925}"/>
          </ac:picMkLst>
        </pc:picChg>
        <pc:picChg chg="del mod">
          <ac:chgData name="TIXIER Francois" userId="776a6eeb-52e0-4e7d-86f2-ecfd5b5be952" providerId="ADAL" clId="{D1E11223-43E8-4EF5-9385-EC9E52D4A9B6}" dt="2022-06-17T08:41:06.452" v="2802" actId="478"/>
          <ac:picMkLst>
            <pc:docMk/>
            <pc:sldMk cId="2359043163" sldId="275"/>
            <ac:picMk id="27" creationId="{7CD2FB4D-64F4-49D6-8BA9-27F7B1EEEF11}"/>
          </ac:picMkLst>
        </pc:picChg>
        <pc:picChg chg="add mod">
          <ac:chgData name="TIXIER Francois" userId="776a6eeb-52e0-4e7d-86f2-ecfd5b5be952" providerId="ADAL" clId="{D1E11223-43E8-4EF5-9385-EC9E52D4A9B6}" dt="2022-06-17T16:23:27.452" v="6046" actId="1076"/>
          <ac:picMkLst>
            <pc:docMk/>
            <pc:sldMk cId="2359043163" sldId="275"/>
            <ac:picMk id="27" creationId="{C21FDFEF-FBAD-4F0F-AEDF-5D1914D2E7B9}"/>
          </ac:picMkLst>
        </pc:picChg>
        <pc:picChg chg="add del mod">
          <ac:chgData name="TIXIER Francois" userId="776a6eeb-52e0-4e7d-86f2-ecfd5b5be952" providerId="ADAL" clId="{D1E11223-43E8-4EF5-9385-EC9E52D4A9B6}" dt="2022-06-17T16:23:30.915" v="6047" actId="478"/>
          <ac:picMkLst>
            <pc:docMk/>
            <pc:sldMk cId="2359043163" sldId="275"/>
            <ac:picMk id="28" creationId="{1227952B-AF1C-47CC-8B92-A2CEC1A6BA90}"/>
          </ac:picMkLst>
        </pc:picChg>
        <pc:picChg chg="del">
          <ac:chgData name="TIXIER Francois" userId="776a6eeb-52e0-4e7d-86f2-ecfd5b5be952" providerId="ADAL" clId="{D1E11223-43E8-4EF5-9385-EC9E52D4A9B6}" dt="2022-06-17T08:39:52.752" v="2790" actId="478"/>
          <ac:picMkLst>
            <pc:docMk/>
            <pc:sldMk cId="2359043163" sldId="275"/>
            <ac:picMk id="34" creationId="{AF8947C3-ECCF-4BBE-BF0C-A14B3BC97C22}"/>
          </ac:picMkLst>
        </pc:picChg>
        <pc:picChg chg="del">
          <ac:chgData name="TIXIER Francois" userId="776a6eeb-52e0-4e7d-86f2-ecfd5b5be952" providerId="ADAL" clId="{D1E11223-43E8-4EF5-9385-EC9E52D4A9B6}" dt="2022-06-17T08:39:52.752" v="2790" actId="478"/>
          <ac:picMkLst>
            <pc:docMk/>
            <pc:sldMk cId="2359043163" sldId="275"/>
            <ac:picMk id="35" creationId="{B5997196-E715-4715-858F-9C044AF072B7}"/>
          </ac:picMkLst>
        </pc:picChg>
        <pc:picChg chg="del mod">
          <ac:chgData name="TIXIER Francois" userId="776a6eeb-52e0-4e7d-86f2-ecfd5b5be952" providerId="ADAL" clId="{D1E11223-43E8-4EF5-9385-EC9E52D4A9B6}" dt="2022-06-17T16:20:35.168" v="6037" actId="478"/>
          <ac:picMkLst>
            <pc:docMk/>
            <pc:sldMk cId="2359043163" sldId="275"/>
            <ac:picMk id="37" creationId="{B0FB7EFA-4471-4411-9293-B4D831E56B45}"/>
          </ac:picMkLst>
        </pc:picChg>
        <pc:picChg chg="del">
          <ac:chgData name="TIXIER Francois" userId="776a6eeb-52e0-4e7d-86f2-ecfd5b5be952" providerId="ADAL" clId="{D1E11223-43E8-4EF5-9385-EC9E52D4A9B6}" dt="2022-06-17T08:39:52.752" v="2790" actId="478"/>
          <ac:picMkLst>
            <pc:docMk/>
            <pc:sldMk cId="2359043163" sldId="275"/>
            <ac:picMk id="38" creationId="{425FBE97-C24C-4633-8BD3-4C8E3571B235}"/>
          </ac:picMkLst>
        </pc:picChg>
        <pc:picChg chg="del mod">
          <ac:chgData name="TIXIER Francois" userId="776a6eeb-52e0-4e7d-86f2-ecfd5b5be952" providerId="ADAL" clId="{D1E11223-43E8-4EF5-9385-EC9E52D4A9B6}" dt="2022-06-17T16:20:35.168" v="6037" actId="478"/>
          <ac:picMkLst>
            <pc:docMk/>
            <pc:sldMk cId="2359043163" sldId="275"/>
            <ac:picMk id="42" creationId="{903B0639-60EB-4684-B45C-3CD4952B7F32}"/>
          </ac:picMkLst>
        </pc:picChg>
      </pc:sldChg>
      <pc:sldChg chg="addSp delSp modSp mod">
        <pc:chgData name="TIXIER Francois" userId="776a6eeb-52e0-4e7d-86f2-ecfd5b5be952" providerId="ADAL" clId="{D1E11223-43E8-4EF5-9385-EC9E52D4A9B6}" dt="2022-06-20T06:55:28.631" v="6353" actId="21"/>
        <pc:sldMkLst>
          <pc:docMk/>
          <pc:sldMk cId="263765170" sldId="279"/>
        </pc:sldMkLst>
        <pc:spChg chg="mod">
          <ac:chgData name="TIXIER Francois" userId="776a6eeb-52e0-4e7d-86f2-ecfd5b5be952" providerId="ADAL" clId="{D1E11223-43E8-4EF5-9385-EC9E52D4A9B6}" dt="2022-06-17T08:11:15.954" v="674" actId="6549"/>
          <ac:spMkLst>
            <pc:docMk/>
            <pc:sldMk cId="263765170" sldId="279"/>
            <ac:spMk id="2" creationId="{22D24C96-7543-474E-B00F-BCD0EF9041EE}"/>
          </ac:spMkLst>
        </pc:spChg>
        <pc:spChg chg="del">
          <ac:chgData name="TIXIER Francois" userId="776a6eeb-52e0-4e7d-86f2-ecfd5b5be952" providerId="ADAL" clId="{D1E11223-43E8-4EF5-9385-EC9E52D4A9B6}" dt="2022-06-17T07:37:30.556" v="63" actId="478"/>
          <ac:spMkLst>
            <pc:docMk/>
            <pc:sldMk cId="263765170" sldId="279"/>
            <ac:spMk id="6" creationId="{16AA4776-EF33-4C1F-B471-CADD54573F20}"/>
          </ac:spMkLst>
        </pc:spChg>
        <pc:spChg chg="mod">
          <ac:chgData name="TIXIER Francois" userId="776a6eeb-52e0-4e7d-86f2-ecfd5b5be952" providerId="ADAL" clId="{D1E11223-43E8-4EF5-9385-EC9E52D4A9B6}" dt="2022-06-20T06:55:28.631" v="6353" actId="21"/>
          <ac:spMkLst>
            <pc:docMk/>
            <pc:sldMk cId="263765170" sldId="279"/>
            <ac:spMk id="11" creationId="{4310A109-750C-463C-A44F-CE0096C43ED2}"/>
          </ac:spMkLst>
        </pc:spChg>
        <pc:spChg chg="del">
          <ac:chgData name="TIXIER Francois" userId="776a6eeb-52e0-4e7d-86f2-ecfd5b5be952" providerId="ADAL" clId="{D1E11223-43E8-4EF5-9385-EC9E52D4A9B6}" dt="2022-06-17T07:37:34.274" v="64" actId="478"/>
          <ac:spMkLst>
            <pc:docMk/>
            <pc:sldMk cId="263765170" sldId="279"/>
            <ac:spMk id="16" creationId="{ACE5363E-2F26-495D-B472-A2E8766DA8EC}"/>
          </ac:spMkLst>
        </pc:spChg>
        <pc:spChg chg="add mod">
          <ac:chgData name="TIXIER Francois" userId="776a6eeb-52e0-4e7d-86f2-ecfd5b5be952" providerId="ADAL" clId="{D1E11223-43E8-4EF5-9385-EC9E52D4A9B6}" dt="2022-06-17T15:14:17.026" v="5008" actId="113"/>
          <ac:spMkLst>
            <pc:docMk/>
            <pc:sldMk cId="263765170" sldId="279"/>
            <ac:spMk id="17" creationId="{C7A010E6-92E4-4874-B5C2-5BBA4BCB76B4}"/>
          </ac:spMkLst>
        </pc:spChg>
        <pc:spChg chg="add mod">
          <ac:chgData name="TIXIER Francois" userId="776a6eeb-52e0-4e7d-86f2-ecfd5b5be952" providerId="ADAL" clId="{D1E11223-43E8-4EF5-9385-EC9E52D4A9B6}" dt="2022-06-17T15:12:38.926" v="4996" actId="115"/>
          <ac:spMkLst>
            <pc:docMk/>
            <pc:sldMk cId="263765170" sldId="279"/>
            <ac:spMk id="22" creationId="{AF807B32-7854-4555-8207-A55854D37866}"/>
          </ac:spMkLst>
        </pc:spChg>
        <pc:spChg chg="add mod">
          <ac:chgData name="TIXIER Francois" userId="776a6eeb-52e0-4e7d-86f2-ecfd5b5be952" providerId="ADAL" clId="{D1E11223-43E8-4EF5-9385-EC9E52D4A9B6}" dt="2022-06-17T08:30:24.598" v="2404" actId="113"/>
          <ac:spMkLst>
            <pc:docMk/>
            <pc:sldMk cId="263765170" sldId="279"/>
            <ac:spMk id="24" creationId="{9BC80517-8798-406A-813A-23892A6E84BD}"/>
          </ac:spMkLst>
        </pc:spChg>
        <pc:spChg chg="mod">
          <ac:chgData name="TIXIER Francois" userId="776a6eeb-52e0-4e7d-86f2-ecfd5b5be952" providerId="ADAL" clId="{D1E11223-43E8-4EF5-9385-EC9E52D4A9B6}" dt="2022-06-17T08:38:14.052" v="2755" actId="1076"/>
          <ac:spMkLst>
            <pc:docMk/>
            <pc:sldMk cId="263765170" sldId="279"/>
            <ac:spMk id="26" creationId="{0E3745F0-8EEF-4614-91BB-053B5DC50958}"/>
          </ac:spMkLst>
        </pc:spChg>
        <pc:spChg chg="add mod">
          <ac:chgData name="TIXIER Francois" userId="776a6eeb-52e0-4e7d-86f2-ecfd5b5be952" providerId="ADAL" clId="{D1E11223-43E8-4EF5-9385-EC9E52D4A9B6}" dt="2022-06-17T08:39:36.072" v="2789" actId="1036"/>
          <ac:spMkLst>
            <pc:docMk/>
            <pc:sldMk cId="263765170" sldId="279"/>
            <ac:spMk id="27" creationId="{2EC46C95-F4D5-4B92-89B5-0DF712E5F31C}"/>
          </ac:spMkLst>
        </pc:spChg>
        <pc:spChg chg="add mod">
          <ac:chgData name="TIXIER Francois" userId="776a6eeb-52e0-4e7d-86f2-ecfd5b5be952" providerId="ADAL" clId="{D1E11223-43E8-4EF5-9385-EC9E52D4A9B6}" dt="2022-06-17T08:39:36.072" v="2789" actId="1036"/>
          <ac:spMkLst>
            <pc:docMk/>
            <pc:sldMk cId="263765170" sldId="279"/>
            <ac:spMk id="28" creationId="{767D7717-AC37-4545-AA23-CADB80378425}"/>
          </ac:spMkLst>
        </pc:spChg>
        <pc:spChg chg="add mod">
          <ac:chgData name="TIXIER Francois" userId="776a6eeb-52e0-4e7d-86f2-ecfd5b5be952" providerId="ADAL" clId="{D1E11223-43E8-4EF5-9385-EC9E52D4A9B6}" dt="2022-06-17T08:39:36.072" v="2789" actId="1036"/>
          <ac:spMkLst>
            <pc:docMk/>
            <pc:sldMk cId="263765170" sldId="279"/>
            <ac:spMk id="29" creationId="{6790621D-BC3F-496D-9488-8FAFFD5831C9}"/>
          </ac:spMkLst>
        </pc:spChg>
        <pc:spChg chg="add mod">
          <ac:chgData name="TIXIER Francois" userId="776a6eeb-52e0-4e7d-86f2-ecfd5b5be952" providerId="ADAL" clId="{D1E11223-43E8-4EF5-9385-EC9E52D4A9B6}" dt="2022-06-17T08:39:36.072" v="2789" actId="1036"/>
          <ac:spMkLst>
            <pc:docMk/>
            <pc:sldMk cId="263765170" sldId="279"/>
            <ac:spMk id="30" creationId="{2E69D75F-3F2E-49DD-B0C1-E8C92424345D}"/>
          </ac:spMkLst>
        </pc:spChg>
        <pc:spChg chg="mod">
          <ac:chgData name="TIXIER Francois" userId="776a6eeb-52e0-4e7d-86f2-ecfd5b5be952" providerId="ADAL" clId="{D1E11223-43E8-4EF5-9385-EC9E52D4A9B6}" dt="2022-06-17T15:13:18.427" v="5005" actId="20577"/>
          <ac:spMkLst>
            <pc:docMk/>
            <pc:sldMk cId="263765170" sldId="279"/>
            <ac:spMk id="35" creationId="{4F59CD20-BFD5-4EA5-9CA0-AFA61396BFDD}"/>
          </ac:spMkLst>
        </pc:spChg>
        <pc:grpChg chg="del">
          <ac:chgData name="TIXIER Francois" userId="776a6eeb-52e0-4e7d-86f2-ecfd5b5be952" providerId="ADAL" clId="{D1E11223-43E8-4EF5-9385-EC9E52D4A9B6}" dt="2022-06-17T07:37:35.145" v="65" actId="478"/>
          <ac:grpSpMkLst>
            <pc:docMk/>
            <pc:sldMk cId="263765170" sldId="279"/>
            <ac:grpSpMk id="9" creationId="{DF805C03-3DB0-4E33-8643-C36C88AA3A9C}"/>
          </ac:grpSpMkLst>
        </pc:grpChg>
        <pc:picChg chg="add mod">
          <ac:chgData name="TIXIER Francois" userId="776a6eeb-52e0-4e7d-86f2-ecfd5b5be952" providerId="ADAL" clId="{D1E11223-43E8-4EF5-9385-EC9E52D4A9B6}" dt="2022-06-17T08:19:18.660" v="1632" actId="1076"/>
          <ac:picMkLst>
            <pc:docMk/>
            <pc:sldMk cId="263765170" sldId="279"/>
            <ac:picMk id="7" creationId="{2E2F3257-514B-4313-9191-BF2FE78A446C}"/>
          </ac:picMkLst>
        </pc:picChg>
        <pc:picChg chg="add del mod">
          <ac:chgData name="TIXIER Francois" userId="776a6eeb-52e0-4e7d-86f2-ecfd5b5be952" providerId="ADAL" clId="{D1E11223-43E8-4EF5-9385-EC9E52D4A9B6}" dt="2022-06-17T08:24:21.154" v="2159" actId="478"/>
          <ac:picMkLst>
            <pc:docMk/>
            <pc:sldMk cId="263765170" sldId="279"/>
            <ac:picMk id="15" creationId="{51266F56-94F0-4ECF-9345-BB92A13CF547}"/>
          </ac:picMkLst>
        </pc:picChg>
        <pc:picChg chg="add mod">
          <ac:chgData name="TIXIER Francois" userId="776a6eeb-52e0-4e7d-86f2-ecfd5b5be952" providerId="ADAL" clId="{D1E11223-43E8-4EF5-9385-EC9E52D4A9B6}" dt="2022-06-17T08:25:22.629" v="2210" actId="1076"/>
          <ac:picMkLst>
            <pc:docMk/>
            <pc:sldMk cId="263765170" sldId="279"/>
            <ac:picMk id="18" creationId="{37B04F6B-AA4B-4B4E-9CA0-AE586955B2C8}"/>
          </ac:picMkLst>
        </pc:picChg>
        <pc:picChg chg="add mod">
          <ac:chgData name="TIXIER Francois" userId="776a6eeb-52e0-4e7d-86f2-ecfd5b5be952" providerId="ADAL" clId="{D1E11223-43E8-4EF5-9385-EC9E52D4A9B6}" dt="2022-06-17T08:30:06.020" v="2403" actId="1076"/>
          <ac:picMkLst>
            <pc:docMk/>
            <pc:sldMk cId="263765170" sldId="279"/>
            <ac:picMk id="25" creationId="{36D51975-3EAA-446F-AF25-B3F7BE4C3D0B}"/>
          </ac:picMkLst>
        </pc:picChg>
        <pc:picChg chg="add mod">
          <ac:chgData name="TIXIER Francois" userId="776a6eeb-52e0-4e7d-86f2-ecfd5b5be952" providerId="ADAL" clId="{D1E11223-43E8-4EF5-9385-EC9E52D4A9B6}" dt="2022-06-17T08:39:36.072" v="2789" actId="1036"/>
          <ac:picMkLst>
            <pc:docMk/>
            <pc:sldMk cId="263765170" sldId="279"/>
            <ac:picMk id="31" creationId="{730088AD-9E10-404E-A436-06A5C05BCE70}"/>
          </ac:picMkLst>
        </pc:picChg>
        <pc:picChg chg="add mod">
          <ac:chgData name="TIXIER Francois" userId="776a6eeb-52e0-4e7d-86f2-ecfd5b5be952" providerId="ADAL" clId="{D1E11223-43E8-4EF5-9385-EC9E52D4A9B6}" dt="2022-06-17T08:39:36.072" v="2789" actId="1036"/>
          <ac:picMkLst>
            <pc:docMk/>
            <pc:sldMk cId="263765170" sldId="279"/>
            <ac:picMk id="32" creationId="{70DAB1A9-2DB0-485A-B74B-A57C00D9E9ED}"/>
          </ac:picMkLst>
        </pc:picChg>
        <pc:picChg chg="add mod">
          <ac:chgData name="TIXIER Francois" userId="776a6eeb-52e0-4e7d-86f2-ecfd5b5be952" providerId="ADAL" clId="{D1E11223-43E8-4EF5-9385-EC9E52D4A9B6}" dt="2022-06-17T08:39:36.072" v="2789" actId="1036"/>
          <ac:picMkLst>
            <pc:docMk/>
            <pc:sldMk cId="263765170" sldId="279"/>
            <ac:picMk id="33" creationId="{A4A8D6BD-9C55-4EA1-99E3-23D4BB82494D}"/>
          </ac:picMkLst>
        </pc:picChg>
        <pc:picChg chg="add mod">
          <ac:chgData name="TIXIER Francois" userId="776a6eeb-52e0-4e7d-86f2-ecfd5b5be952" providerId="ADAL" clId="{D1E11223-43E8-4EF5-9385-EC9E52D4A9B6}" dt="2022-06-17T08:39:36.072" v="2789" actId="1036"/>
          <ac:picMkLst>
            <pc:docMk/>
            <pc:sldMk cId="263765170" sldId="279"/>
            <ac:picMk id="34" creationId="{15045831-C71D-4FDC-AA81-09A0C0708527}"/>
          </ac:picMkLst>
        </pc:picChg>
      </pc:sldChg>
      <pc:sldChg chg="addSp delSp modSp mod">
        <pc:chgData name="TIXIER Francois" userId="776a6eeb-52e0-4e7d-86f2-ecfd5b5be952" providerId="ADAL" clId="{D1E11223-43E8-4EF5-9385-EC9E52D4A9B6}" dt="2022-06-17T15:15:38.993" v="5015" actId="20577"/>
        <pc:sldMkLst>
          <pc:docMk/>
          <pc:sldMk cId="2706805019" sldId="280"/>
        </pc:sldMkLst>
        <pc:spChg chg="mod">
          <ac:chgData name="TIXIER Francois" userId="776a6eeb-52e0-4e7d-86f2-ecfd5b5be952" providerId="ADAL" clId="{D1E11223-43E8-4EF5-9385-EC9E52D4A9B6}" dt="2022-06-17T15:14:47.911" v="5010" actId="20577"/>
          <ac:spMkLst>
            <pc:docMk/>
            <pc:sldMk cId="2706805019" sldId="280"/>
            <ac:spMk id="10" creationId="{65F439D4-948A-4D69-8669-2248A6F619D9}"/>
          </ac:spMkLst>
        </pc:spChg>
        <pc:spChg chg="mod">
          <ac:chgData name="TIXIER Francois" userId="776a6eeb-52e0-4e7d-86f2-ecfd5b5be952" providerId="ADAL" clId="{D1E11223-43E8-4EF5-9385-EC9E52D4A9B6}" dt="2022-06-17T15:15:38.993" v="5015" actId="20577"/>
          <ac:spMkLst>
            <pc:docMk/>
            <pc:sldMk cId="2706805019" sldId="280"/>
            <ac:spMk id="11" creationId="{172E8349-AF8E-4351-BA35-8E04024C3CC5}"/>
          </ac:spMkLst>
        </pc:spChg>
        <pc:spChg chg="mod">
          <ac:chgData name="TIXIER Francois" userId="776a6eeb-52e0-4e7d-86f2-ecfd5b5be952" providerId="ADAL" clId="{D1E11223-43E8-4EF5-9385-EC9E52D4A9B6}" dt="2022-06-17T07:55:47.392" v="70" actId="20577"/>
          <ac:spMkLst>
            <pc:docMk/>
            <pc:sldMk cId="2706805019" sldId="280"/>
            <ac:spMk id="20" creationId="{A321D76A-F6EA-4D2C-BA1D-2394EC7E8C48}"/>
          </ac:spMkLst>
        </pc:spChg>
        <pc:spChg chg="del">
          <ac:chgData name="TIXIER Francois" userId="776a6eeb-52e0-4e7d-86f2-ecfd5b5be952" providerId="ADAL" clId="{D1E11223-43E8-4EF5-9385-EC9E52D4A9B6}" dt="2022-06-17T07:56:17.944" v="80" actId="478"/>
          <ac:spMkLst>
            <pc:docMk/>
            <pc:sldMk cId="2706805019" sldId="280"/>
            <ac:spMk id="23" creationId="{F14CCD74-C179-4B0B-993F-7870503042C6}"/>
          </ac:spMkLst>
        </pc:spChg>
        <pc:spChg chg="del">
          <ac:chgData name="TIXIER Francois" userId="776a6eeb-52e0-4e7d-86f2-ecfd5b5be952" providerId="ADAL" clId="{D1E11223-43E8-4EF5-9385-EC9E52D4A9B6}" dt="2022-06-17T07:56:17.944" v="80" actId="478"/>
          <ac:spMkLst>
            <pc:docMk/>
            <pc:sldMk cId="2706805019" sldId="280"/>
            <ac:spMk id="27" creationId="{20866F2B-5186-4CED-9F5F-4A26C34EC910}"/>
          </ac:spMkLst>
        </pc:spChg>
        <pc:spChg chg="del">
          <ac:chgData name="TIXIER Francois" userId="776a6eeb-52e0-4e7d-86f2-ecfd5b5be952" providerId="ADAL" clId="{D1E11223-43E8-4EF5-9385-EC9E52D4A9B6}" dt="2022-06-17T07:56:00.364" v="78" actId="478"/>
          <ac:spMkLst>
            <pc:docMk/>
            <pc:sldMk cId="2706805019" sldId="280"/>
            <ac:spMk id="28" creationId="{BCBCDAAA-8842-41E4-A052-EBB1A2800086}"/>
          </ac:spMkLst>
        </pc:spChg>
        <pc:spChg chg="add del mod">
          <ac:chgData name="TIXIER Francois" userId="776a6eeb-52e0-4e7d-86f2-ecfd5b5be952" providerId="ADAL" clId="{D1E11223-43E8-4EF5-9385-EC9E52D4A9B6}" dt="2022-06-17T08:51:58.334" v="3429" actId="478"/>
          <ac:spMkLst>
            <pc:docMk/>
            <pc:sldMk cId="2706805019" sldId="280"/>
            <ac:spMk id="29" creationId="{907C5530-66C8-4ECC-9F34-5A8640866AAB}"/>
          </ac:spMkLst>
        </pc:spChg>
        <pc:spChg chg="mod">
          <ac:chgData name="TIXIER Francois" userId="776a6eeb-52e0-4e7d-86f2-ecfd5b5be952" providerId="ADAL" clId="{D1E11223-43E8-4EF5-9385-EC9E52D4A9B6}" dt="2022-06-17T08:37:10.398" v="2714" actId="1076"/>
          <ac:spMkLst>
            <pc:docMk/>
            <pc:sldMk cId="2706805019" sldId="280"/>
            <ac:spMk id="37" creationId="{6EC800BA-8275-4F26-BBD6-721A77B7F255}"/>
          </ac:spMkLst>
        </pc:spChg>
        <pc:grpChg chg="del">
          <ac:chgData name="TIXIER Francois" userId="776a6eeb-52e0-4e7d-86f2-ecfd5b5be952" providerId="ADAL" clId="{D1E11223-43E8-4EF5-9385-EC9E52D4A9B6}" dt="2022-06-17T07:56:06.607" v="79" actId="478"/>
          <ac:grpSpMkLst>
            <pc:docMk/>
            <pc:sldMk cId="2706805019" sldId="280"/>
            <ac:grpSpMk id="2" creationId="{BCE33583-F44C-4853-82D4-EB4FF4A35A9F}"/>
          </ac:grpSpMkLst>
        </pc:grpChg>
        <pc:grpChg chg="del">
          <ac:chgData name="TIXIER Francois" userId="776a6eeb-52e0-4e7d-86f2-ecfd5b5be952" providerId="ADAL" clId="{D1E11223-43E8-4EF5-9385-EC9E52D4A9B6}" dt="2022-06-17T07:56:17.944" v="80" actId="478"/>
          <ac:grpSpMkLst>
            <pc:docMk/>
            <pc:sldMk cId="2706805019" sldId="280"/>
            <ac:grpSpMk id="12" creationId="{1C71D15E-D2DD-4ABB-99F5-65FC9B8410B0}"/>
          </ac:grpSpMkLst>
        </pc:grpChg>
        <pc:picChg chg="del">
          <ac:chgData name="TIXIER Francois" userId="776a6eeb-52e0-4e7d-86f2-ecfd5b5be952" providerId="ADAL" clId="{D1E11223-43E8-4EF5-9385-EC9E52D4A9B6}" dt="2022-06-17T07:56:00.364" v="78" actId="478"/>
          <ac:picMkLst>
            <pc:docMk/>
            <pc:sldMk cId="2706805019" sldId="280"/>
            <ac:picMk id="14" creationId="{28307169-3E91-473A-BBB1-11BAE0DFC7CB}"/>
          </ac:picMkLst>
        </pc:picChg>
        <pc:picChg chg="del">
          <ac:chgData name="TIXIER Francois" userId="776a6eeb-52e0-4e7d-86f2-ecfd5b5be952" providerId="ADAL" clId="{D1E11223-43E8-4EF5-9385-EC9E52D4A9B6}" dt="2022-06-17T07:56:00.364" v="78" actId="478"/>
          <ac:picMkLst>
            <pc:docMk/>
            <pc:sldMk cId="2706805019" sldId="280"/>
            <ac:picMk id="16" creationId="{0464202A-D787-44B0-B855-39AAEEA5935F}"/>
          </ac:picMkLst>
        </pc:picChg>
        <pc:picChg chg="del">
          <ac:chgData name="TIXIER Francois" userId="776a6eeb-52e0-4e7d-86f2-ecfd5b5be952" providerId="ADAL" clId="{D1E11223-43E8-4EF5-9385-EC9E52D4A9B6}" dt="2022-06-17T07:56:00.364" v="78" actId="478"/>
          <ac:picMkLst>
            <pc:docMk/>
            <pc:sldMk cId="2706805019" sldId="280"/>
            <ac:picMk id="17" creationId="{7253FADF-5323-4216-8412-D847EBD8BBC5}"/>
          </ac:picMkLst>
        </pc:picChg>
        <pc:picChg chg="del">
          <ac:chgData name="TIXIER Francois" userId="776a6eeb-52e0-4e7d-86f2-ecfd5b5be952" providerId="ADAL" clId="{D1E11223-43E8-4EF5-9385-EC9E52D4A9B6}" dt="2022-06-17T07:56:00.364" v="78" actId="478"/>
          <ac:picMkLst>
            <pc:docMk/>
            <pc:sldMk cId="2706805019" sldId="280"/>
            <ac:picMk id="18" creationId="{45656F82-E480-470B-8015-F952388DACC5}"/>
          </ac:picMkLst>
        </pc:picChg>
        <pc:picChg chg="del">
          <ac:chgData name="TIXIER Francois" userId="776a6eeb-52e0-4e7d-86f2-ecfd5b5be952" providerId="ADAL" clId="{D1E11223-43E8-4EF5-9385-EC9E52D4A9B6}" dt="2022-06-17T07:56:17.944" v="80" actId="478"/>
          <ac:picMkLst>
            <pc:docMk/>
            <pc:sldMk cId="2706805019" sldId="280"/>
            <ac:picMk id="21" creationId="{0514A5C7-C30B-4199-8907-B52BF4F2C105}"/>
          </ac:picMkLst>
        </pc:picChg>
        <pc:picChg chg="add del mod">
          <ac:chgData name="TIXIER Francois" userId="776a6eeb-52e0-4e7d-86f2-ecfd5b5be952" providerId="ADAL" clId="{D1E11223-43E8-4EF5-9385-EC9E52D4A9B6}" dt="2022-06-17T08:05:36.235" v="446" actId="478"/>
          <ac:picMkLst>
            <pc:docMk/>
            <pc:sldMk cId="2706805019" sldId="280"/>
            <ac:picMk id="22" creationId="{3AA44B35-63D1-4430-81B9-94265376E845}"/>
          </ac:picMkLst>
        </pc:picChg>
        <pc:picChg chg="add mod">
          <ac:chgData name="TIXIER Francois" userId="776a6eeb-52e0-4e7d-86f2-ecfd5b5be952" providerId="ADAL" clId="{D1E11223-43E8-4EF5-9385-EC9E52D4A9B6}" dt="2022-06-17T08:37:05.550" v="2712" actId="14100"/>
          <ac:picMkLst>
            <pc:docMk/>
            <pc:sldMk cId="2706805019" sldId="280"/>
            <ac:picMk id="25" creationId="{E13E2A19-89EA-425D-92BA-2C5BE5FEF0ED}"/>
          </ac:picMkLst>
        </pc:picChg>
      </pc:sldChg>
      <pc:sldChg chg="addSp delSp modSp add mod">
        <pc:chgData name="TIXIER Francois" userId="776a6eeb-52e0-4e7d-86f2-ecfd5b5be952" providerId="ADAL" clId="{D1E11223-43E8-4EF5-9385-EC9E52D4A9B6}" dt="2022-06-17T15:20:03.922" v="5087" actId="123"/>
        <pc:sldMkLst>
          <pc:docMk/>
          <pc:sldMk cId="2425911984" sldId="281"/>
        </pc:sldMkLst>
        <pc:spChg chg="add del mod">
          <ac:chgData name="TIXIER Francois" userId="776a6eeb-52e0-4e7d-86f2-ecfd5b5be952" providerId="ADAL" clId="{D1E11223-43E8-4EF5-9385-EC9E52D4A9B6}" dt="2022-06-17T08:42:33.472" v="2837" actId="478"/>
          <ac:spMkLst>
            <pc:docMk/>
            <pc:sldMk cId="2425911984" sldId="281"/>
            <ac:spMk id="5" creationId="{641C3F86-E12F-4B2C-AA68-2F4186291CE7}"/>
          </ac:spMkLst>
        </pc:spChg>
        <pc:spChg chg="add del mod">
          <ac:chgData name="TIXIER Francois" userId="776a6eeb-52e0-4e7d-86f2-ecfd5b5be952" providerId="ADAL" clId="{D1E11223-43E8-4EF5-9385-EC9E52D4A9B6}" dt="2022-06-17T08:42:33.472" v="2837" actId="478"/>
          <ac:spMkLst>
            <pc:docMk/>
            <pc:sldMk cId="2425911984" sldId="281"/>
            <ac:spMk id="6" creationId="{7D2B9692-2889-49D1-A9F0-E82F1172ACA1}"/>
          </ac:spMkLst>
        </pc:spChg>
        <pc:spChg chg="add mod">
          <ac:chgData name="TIXIER Francois" userId="776a6eeb-52e0-4e7d-86f2-ecfd5b5be952" providerId="ADAL" clId="{D1E11223-43E8-4EF5-9385-EC9E52D4A9B6}" dt="2022-06-17T09:06:38.260" v="4082" actId="255"/>
          <ac:spMkLst>
            <pc:docMk/>
            <pc:sldMk cId="2425911984" sldId="281"/>
            <ac:spMk id="7" creationId="{1DC2C958-4EF7-43E4-A13D-764BE11C7529}"/>
          </ac:spMkLst>
        </pc:spChg>
        <pc:spChg chg="add mod">
          <ac:chgData name="TIXIER Francois" userId="776a6eeb-52e0-4e7d-86f2-ecfd5b5be952" providerId="ADAL" clId="{D1E11223-43E8-4EF5-9385-EC9E52D4A9B6}" dt="2022-06-17T09:15:02.342" v="4983" actId="1076"/>
          <ac:spMkLst>
            <pc:docMk/>
            <pc:sldMk cId="2425911984" sldId="281"/>
            <ac:spMk id="8" creationId="{FC9B6322-A567-4423-895B-9BEB693DC8CC}"/>
          </ac:spMkLst>
        </pc:spChg>
        <pc:spChg chg="add mod">
          <ac:chgData name="TIXIER Francois" userId="776a6eeb-52e0-4e7d-86f2-ecfd5b5be952" providerId="ADAL" clId="{D1E11223-43E8-4EF5-9385-EC9E52D4A9B6}" dt="2022-06-17T15:20:03.922" v="5087" actId="123"/>
          <ac:spMkLst>
            <pc:docMk/>
            <pc:sldMk cId="2425911984" sldId="281"/>
            <ac:spMk id="10" creationId="{0E57E31F-A7EB-4223-89D1-5D46B5CE38DC}"/>
          </ac:spMkLst>
        </pc:spChg>
        <pc:spChg chg="add mod">
          <ac:chgData name="TIXIER Francois" userId="776a6eeb-52e0-4e7d-86f2-ecfd5b5be952" providerId="ADAL" clId="{D1E11223-43E8-4EF5-9385-EC9E52D4A9B6}" dt="2022-06-17T15:20:01.411" v="5086" actId="123"/>
          <ac:spMkLst>
            <pc:docMk/>
            <pc:sldMk cId="2425911984" sldId="281"/>
            <ac:spMk id="11" creationId="{9D619875-1021-48C3-8D0D-0DE4796F4984}"/>
          </ac:spMkLst>
        </pc:spChg>
        <pc:spChg chg="add mod">
          <ac:chgData name="TIXIER Francois" userId="776a6eeb-52e0-4e7d-86f2-ecfd5b5be952" providerId="ADAL" clId="{D1E11223-43E8-4EF5-9385-EC9E52D4A9B6}" dt="2022-06-17T09:15:25.787" v="4990" actId="1076"/>
          <ac:spMkLst>
            <pc:docMk/>
            <pc:sldMk cId="2425911984" sldId="281"/>
            <ac:spMk id="13" creationId="{3CEAA76F-209B-414E-BC9A-2A6C15F752BC}"/>
          </ac:spMkLst>
        </pc:spChg>
        <pc:spChg chg="mod">
          <ac:chgData name="TIXIER Francois" userId="776a6eeb-52e0-4e7d-86f2-ecfd5b5be952" providerId="ADAL" clId="{D1E11223-43E8-4EF5-9385-EC9E52D4A9B6}" dt="2022-06-17T15:19:19.044" v="5085" actId="5793"/>
          <ac:spMkLst>
            <pc:docMk/>
            <pc:sldMk cId="2425911984" sldId="281"/>
            <ac:spMk id="14" creationId="{504305EE-43D8-4022-B0EA-EDDA9D2A6535}"/>
          </ac:spMkLst>
        </pc:spChg>
        <pc:spChg chg="mod">
          <ac:chgData name="TIXIER Francois" userId="776a6eeb-52e0-4e7d-86f2-ecfd5b5be952" providerId="ADAL" clId="{D1E11223-43E8-4EF5-9385-EC9E52D4A9B6}" dt="2022-06-17T09:12:17.202" v="4643" actId="313"/>
          <ac:spMkLst>
            <pc:docMk/>
            <pc:sldMk cId="2425911984" sldId="281"/>
            <ac:spMk id="20" creationId="{A321D76A-F6EA-4D2C-BA1D-2394EC7E8C48}"/>
          </ac:spMkLst>
        </pc:spChg>
        <pc:spChg chg="mod">
          <ac:chgData name="TIXIER Francois" userId="776a6eeb-52e0-4e7d-86f2-ecfd5b5be952" providerId="ADAL" clId="{D1E11223-43E8-4EF5-9385-EC9E52D4A9B6}" dt="2022-06-17T09:14:59.086" v="4982" actId="313"/>
          <ac:spMkLst>
            <pc:docMk/>
            <pc:sldMk cId="2425911984" sldId="281"/>
            <ac:spMk id="37" creationId="{6EC800BA-8275-4F26-BBD6-721A77B7F255}"/>
          </ac:spMkLst>
        </pc:spChg>
        <pc:picChg chg="add del mod">
          <ac:chgData name="TIXIER Francois" userId="776a6eeb-52e0-4e7d-86f2-ecfd5b5be952" providerId="ADAL" clId="{D1E11223-43E8-4EF5-9385-EC9E52D4A9B6}" dt="2022-06-17T08:58:23.529" v="3502" actId="478"/>
          <ac:picMkLst>
            <pc:docMk/>
            <pc:sldMk cId="2425911984" sldId="281"/>
            <ac:picMk id="2" creationId="{7DB77D96-1300-41BB-993A-4A406C7080F6}"/>
          </ac:picMkLst>
        </pc:picChg>
        <pc:picChg chg="add del mod">
          <ac:chgData name="TIXIER Francois" userId="776a6eeb-52e0-4e7d-86f2-ecfd5b5be952" providerId="ADAL" clId="{D1E11223-43E8-4EF5-9385-EC9E52D4A9B6}" dt="2022-06-17T08:57:25.888" v="3501" actId="478"/>
          <ac:picMkLst>
            <pc:docMk/>
            <pc:sldMk cId="2425911984" sldId="281"/>
            <ac:picMk id="3" creationId="{02F0C35D-9CD8-4BB1-9A3A-C1948150E457}"/>
          </ac:picMkLst>
        </pc:picChg>
        <pc:picChg chg="add mod">
          <ac:chgData name="TIXIER Francois" userId="776a6eeb-52e0-4e7d-86f2-ecfd5b5be952" providerId="ADAL" clId="{D1E11223-43E8-4EF5-9385-EC9E52D4A9B6}" dt="2022-06-17T09:08:56.661" v="4278" actId="1076"/>
          <ac:picMkLst>
            <pc:docMk/>
            <pc:sldMk cId="2425911984" sldId="281"/>
            <ac:picMk id="4" creationId="{AC8D1087-B845-4E2D-A5E8-165FBF484416}"/>
          </ac:picMkLst>
        </pc:picChg>
      </pc:sldChg>
      <pc:sldChg chg="addSp delSp modSp add del mod">
        <pc:chgData name="TIXIER Francois" userId="776a6eeb-52e0-4e7d-86f2-ecfd5b5be952" providerId="ADAL" clId="{D1E11223-43E8-4EF5-9385-EC9E52D4A9B6}" dt="2022-06-20T06:24:03.201" v="6351" actId="47"/>
        <pc:sldMkLst>
          <pc:docMk/>
          <pc:sldMk cId="2632052779" sldId="282"/>
        </pc:sldMkLst>
        <pc:spChg chg="mod">
          <ac:chgData name="TIXIER Francois" userId="776a6eeb-52e0-4e7d-86f2-ecfd5b5be952" providerId="ADAL" clId="{D1E11223-43E8-4EF5-9385-EC9E52D4A9B6}" dt="2022-06-17T18:43:26.624" v="6350" actId="1076"/>
          <ac:spMkLst>
            <pc:docMk/>
            <pc:sldMk cId="2632052779" sldId="282"/>
            <ac:spMk id="9" creationId="{5F0F6ED7-B9FD-4D8F-BCE0-BC93652DFA9A}"/>
          </ac:spMkLst>
        </pc:spChg>
        <pc:spChg chg="mod">
          <ac:chgData name="TIXIER Francois" userId="776a6eeb-52e0-4e7d-86f2-ecfd5b5be952" providerId="ADAL" clId="{D1E11223-43E8-4EF5-9385-EC9E52D4A9B6}" dt="2022-06-17T18:42:48.856" v="6342" actId="1076"/>
          <ac:spMkLst>
            <pc:docMk/>
            <pc:sldMk cId="2632052779" sldId="282"/>
            <ac:spMk id="10" creationId="{65F439D4-948A-4D69-8669-2248A6F619D9}"/>
          </ac:spMkLst>
        </pc:spChg>
        <pc:spChg chg="mod">
          <ac:chgData name="TIXIER Francois" userId="776a6eeb-52e0-4e7d-86f2-ecfd5b5be952" providerId="ADAL" clId="{D1E11223-43E8-4EF5-9385-EC9E52D4A9B6}" dt="2022-06-17T18:43:00.297" v="6345" actId="14100"/>
          <ac:spMkLst>
            <pc:docMk/>
            <pc:sldMk cId="2632052779" sldId="282"/>
            <ac:spMk id="11" creationId="{172E8349-AF8E-4351-BA35-8E04024C3CC5}"/>
          </ac:spMkLst>
        </pc:spChg>
        <pc:spChg chg="mod">
          <ac:chgData name="TIXIER Francois" userId="776a6eeb-52e0-4e7d-86f2-ecfd5b5be952" providerId="ADAL" clId="{D1E11223-43E8-4EF5-9385-EC9E52D4A9B6}" dt="2022-06-17T18:43:16.601" v="6349" actId="1076"/>
          <ac:spMkLst>
            <pc:docMk/>
            <pc:sldMk cId="2632052779" sldId="282"/>
            <ac:spMk id="37" creationId="{6EC800BA-8275-4F26-BBD6-721A77B7F255}"/>
          </ac:spMkLst>
        </pc:spChg>
        <pc:picChg chg="del">
          <ac:chgData name="TIXIER Francois" userId="776a6eeb-52e0-4e7d-86f2-ecfd5b5be952" providerId="ADAL" clId="{D1E11223-43E8-4EF5-9385-EC9E52D4A9B6}" dt="2022-06-17T18:41:32.643" v="6330" actId="478"/>
          <ac:picMkLst>
            <pc:docMk/>
            <pc:sldMk cId="2632052779" sldId="282"/>
            <ac:picMk id="25" creationId="{E13E2A19-89EA-425D-92BA-2C5BE5FEF0ED}"/>
          </ac:picMkLst>
        </pc:picChg>
        <pc:picChg chg="add mod">
          <ac:chgData name="TIXIER Francois" userId="776a6eeb-52e0-4e7d-86f2-ecfd5b5be952" providerId="ADAL" clId="{D1E11223-43E8-4EF5-9385-EC9E52D4A9B6}" dt="2022-06-17T18:43:09.446" v="6347" actId="1076"/>
          <ac:picMkLst>
            <pc:docMk/>
            <pc:sldMk cId="2632052779" sldId="282"/>
            <ac:picMk id="1026" creationId="{2CAAC1D7-5E98-4082-928A-6F87CED4F2E6}"/>
          </ac:picMkLst>
        </pc:picChg>
      </pc:sldChg>
      <pc:sldChg chg="add del">
        <pc:chgData name="TIXIER Francois" userId="776a6eeb-52e0-4e7d-86f2-ecfd5b5be952" providerId="ADAL" clId="{D1E11223-43E8-4EF5-9385-EC9E52D4A9B6}" dt="2022-06-17T07:58:56.600" v="315" actId="47"/>
        <pc:sldMkLst>
          <pc:docMk/>
          <pc:sldMk cId="4060680467" sldId="282"/>
        </pc:sldMkLst>
      </pc:sldChg>
    </pc:docChg>
  </pc:docChgLst>
  <pc:docChgLst>
    <pc:chgData name="KOMBE Ange Yannick" userId="S::a156mv@login.axa::35bb82ce-b081-4959-84fb-2a2932442850" providerId="AD" clId="Web-{A6112A1C-A920-7103-91A4-54F6EC56C883}"/>
    <pc:docChg chg="modSld">
      <pc:chgData name="KOMBE Ange Yannick" userId="S::a156mv@login.axa::35bb82ce-b081-4959-84fb-2a2932442850" providerId="AD" clId="Web-{A6112A1C-A920-7103-91A4-54F6EC56C883}" dt="2022-06-17T14:41:25.348" v="181" actId="20577"/>
      <pc:docMkLst>
        <pc:docMk/>
      </pc:docMkLst>
      <pc:sldChg chg="modSp">
        <pc:chgData name="KOMBE Ange Yannick" userId="S::a156mv@login.axa::35bb82ce-b081-4959-84fb-2a2932442850" providerId="AD" clId="Web-{A6112A1C-A920-7103-91A4-54F6EC56C883}" dt="2022-06-17T14:41:25.348" v="181" actId="20577"/>
        <pc:sldMkLst>
          <pc:docMk/>
          <pc:sldMk cId="2359043163" sldId="275"/>
        </pc:sldMkLst>
        <pc:spChg chg="mod">
          <ac:chgData name="KOMBE Ange Yannick" userId="S::a156mv@login.axa::35bb82ce-b081-4959-84fb-2a2932442850" providerId="AD" clId="Web-{A6112A1C-A920-7103-91A4-54F6EC56C883}" dt="2022-06-17T14:41:25.348" v="181" actId="20577"/>
          <ac:spMkLst>
            <pc:docMk/>
            <pc:sldMk cId="2359043163" sldId="275"/>
            <ac:spMk id="55" creationId="{9C2AF2A8-0C1C-4F87-93AF-FE2C37CEFDB1}"/>
          </ac:spMkLst>
        </pc:spChg>
        <pc:picChg chg="mod">
          <ac:chgData name="KOMBE Ange Yannick" userId="S::a156mv@login.axa::35bb82ce-b081-4959-84fb-2a2932442850" providerId="AD" clId="Web-{A6112A1C-A920-7103-91A4-54F6EC56C883}" dt="2022-06-17T14:38:12.061" v="170" actId="14100"/>
          <ac:picMkLst>
            <pc:docMk/>
            <pc:sldMk cId="2359043163" sldId="275"/>
            <ac:picMk id="12" creationId="{FA969208-74AA-429E-B845-F8F1C7CEF730}"/>
          </ac:picMkLst>
        </pc:picChg>
      </pc:sldChg>
      <pc:sldChg chg="modSp">
        <pc:chgData name="KOMBE Ange Yannick" userId="S::a156mv@login.axa::35bb82ce-b081-4959-84fb-2a2932442850" providerId="AD" clId="Web-{A6112A1C-A920-7103-91A4-54F6EC56C883}" dt="2022-06-17T14:36:50.449" v="73" actId="20577"/>
        <pc:sldMkLst>
          <pc:docMk/>
          <pc:sldMk cId="263765170" sldId="279"/>
        </pc:sldMkLst>
        <pc:spChg chg="mod">
          <ac:chgData name="KOMBE Ange Yannick" userId="S::a156mv@login.axa::35bb82ce-b081-4959-84fb-2a2932442850" providerId="AD" clId="Web-{A6112A1C-A920-7103-91A4-54F6EC56C883}" dt="2022-06-17T14:08:33.116" v="5" actId="20577"/>
          <ac:spMkLst>
            <pc:docMk/>
            <pc:sldMk cId="263765170" sldId="279"/>
            <ac:spMk id="17" creationId="{C7A010E6-92E4-4874-B5C2-5BBA4BCB76B4}"/>
          </ac:spMkLst>
        </pc:spChg>
        <pc:spChg chg="mod">
          <ac:chgData name="KOMBE Ange Yannick" userId="S::a156mv@login.axa::35bb82ce-b081-4959-84fb-2a2932442850" providerId="AD" clId="Web-{A6112A1C-A920-7103-91A4-54F6EC56C883}" dt="2022-06-17T14:07:30.989" v="3" actId="20577"/>
          <ac:spMkLst>
            <pc:docMk/>
            <pc:sldMk cId="263765170" sldId="279"/>
            <ac:spMk id="22" creationId="{AF807B32-7854-4555-8207-A55854D37866}"/>
          </ac:spMkLst>
        </pc:spChg>
        <pc:spChg chg="mod">
          <ac:chgData name="KOMBE Ange Yannick" userId="S::a156mv@login.axa::35bb82ce-b081-4959-84fb-2a2932442850" providerId="AD" clId="Web-{A6112A1C-A920-7103-91A4-54F6EC56C883}" dt="2022-06-17T14:36:50.449" v="73" actId="20577"/>
          <ac:spMkLst>
            <pc:docMk/>
            <pc:sldMk cId="263765170" sldId="279"/>
            <ac:spMk id="35" creationId="{4F59CD20-BFD5-4EA5-9CA0-AFA61396BFDD}"/>
          </ac:spMkLst>
        </pc:spChg>
      </pc:sldChg>
      <pc:sldChg chg="modSp">
        <pc:chgData name="KOMBE Ange Yannick" userId="S::a156mv@login.axa::35bb82ce-b081-4959-84fb-2a2932442850" providerId="AD" clId="Web-{A6112A1C-A920-7103-91A4-54F6EC56C883}" dt="2022-06-17T12:36:52.140" v="1" actId="20577"/>
        <pc:sldMkLst>
          <pc:docMk/>
          <pc:sldMk cId="2706805019" sldId="280"/>
        </pc:sldMkLst>
        <pc:spChg chg="mod">
          <ac:chgData name="KOMBE Ange Yannick" userId="S::a156mv@login.axa::35bb82ce-b081-4959-84fb-2a2932442850" providerId="AD" clId="Web-{A6112A1C-A920-7103-91A4-54F6EC56C883}" dt="2022-06-17T12:36:52.140" v="1" actId="20577"/>
          <ac:spMkLst>
            <pc:docMk/>
            <pc:sldMk cId="2706805019" sldId="280"/>
            <ac:spMk id="37" creationId="{6EC800BA-8275-4F26-BBD6-721A77B7F255}"/>
          </ac:spMkLst>
        </pc:spChg>
      </pc:sldChg>
    </pc:docChg>
  </pc:docChgLst>
  <pc:docChgLst>
    <pc:chgData name="LAURIOZ Hubert" userId="042c0725-f647-406f-add6-64a715f31917" providerId="ADAL" clId="{9B9A9755-DA2B-4FAE-B829-B81FE6570E70}"/>
    <pc:docChg chg="modSld">
      <pc:chgData name="LAURIOZ Hubert" userId="042c0725-f647-406f-add6-64a715f31917" providerId="ADAL" clId="{9B9A9755-DA2B-4FAE-B829-B81FE6570E70}" dt="2022-07-05T10:24:13.841" v="36" actId="403"/>
      <pc:docMkLst>
        <pc:docMk/>
      </pc:docMkLst>
      <pc:sldChg chg="modSp mod">
        <pc:chgData name="LAURIOZ Hubert" userId="042c0725-f647-406f-add6-64a715f31917" providerId="ADAL" clId="{9B9A9755-DA2B-4FAE-B829-B81FE6570E70}" dt="2022-07-05T10:24:13.841" v="36" actId="403"/>
        <pc:sldMkLst>
          <pc:docMk/>
          <pc:sldMk cId="2882149176" sldId="280"/>
        </pc:sldMkLst>
        <pc:spChg chg="mod">
          <ac:chgData name="LAURIOZ Hubert" userId="042c0725-f647-406f-add6-64a715f31917" providerId="ADAL" clId="{9B9A9755-DA2B-4FAE-B829-B81FE6570E70}" dt="2022-07-05T10:24:13.841" v="36" actId="403"/>
          <ac:spMkLst>
            <pc:docMk/>
            <pc:sldMk cId="2882149176" sldId="280"/>
            <ac:spMk id="11" creationId="{F6863C3C-F6BD-4868-9563-0D508A26DB2E}"/>
          </ac:spMkLst>
        </pc:spChg>
        <pc:spChg chg="mod">
          <ac:chgData name="LAURIOZ Hubert" userId="042c0725-f647-406f-add6-64a715f31917" providerId="ADAL" clId="{9B9A9755-DA2B-4FAE-B829-B81FE6570E70}" dt="2022-07-05T10:23:18.648" v="31" actId="14100"/>
          <ac:spMkLst>
            <pc:docMk/>
            <pc:sldMk cId="2882149176" sldId="280"/>
            <ac:spMk id="26" creationId="{699D8396-D335-403D-8980-33CEC1ED9A18}"/>
          </ac:spMkLst>
        </pc:spChg>
        <pc:spChg chg="mod">
          <ac:chgData name="LAURIOZ Hubert" userId="042c0725-f647-406f-add6-64a715f31917" providerId="ADAL" clId="{9B9A9755-DA2B-4FAE-B829-B81FE6570E70}" dt="2022-07-05T10:22:55.709" v="19" actId="1076"/>
          <ac:spMkLst>
            <pc:docMk/>
            <pc:sldMk cId="2882149176" sldId="280"/>
            <ac:spMk id="37" creationId="{BE6CEB25-9EB3-4338-A8EB-143A496EB71B}"/>
          </ac:spMkLst>
        </pc:spChg>
      </pc:sldChg>
      <pc:sldChg chg="modSp mod">
        <pc:chgData name="LAURIOZ Hubert" userId="042c0725-f647-406f-add6-64a715f31917" providerId="ADAL" clId="{9B9A9755-DA2B-4FAE-B829-B81FE6570E70}" dt="2022-07-05T09:24:43.359" v="9" actId="1076"/>
        <pc:sldMkLst>
          <pc:docMk/>
          <pc:sldMk cId="2425911984" sldId="281"/>
        </pc:sldMkLst>
        <pc:grpChg chg="mod">
          <ac:chgData name="LAURIOZ Hubert" userId="042c0725-f647-406f-add6-64a715f31917" providerId="ADAL" clId="{9B9A9755-DA2B-4FAE-B829-B81FE6570E70}" dt="2022-07-05T09:24:43.359" v="9" actId="1076"/>
          <ac:grpSpMkLst>
            <pc:docMk/>
            <pc:sldMk cId="2425911984" sldId="281"/>
            <ac:grpSpMk id="2" creationId="{32F01CBB-44D7-4851-9C55-5A2F7EB164E8}"/>
          </ac:grpSpMkLst>
        </pc:grpChg>
      </pc:sldChg>
    </pc:docChg>
  </pc:docChgLst>
  <pc:docChgLst>
    <pc:chgData name="DORTOMB Frederic" userId="961958c9-6f45-4a80-b51c-03b01cd8ab6f" providerId="ADAL" clId="{E80A4F2D-0581-46CA-9E00-6342EEE51926}"/>
    <pc:docChg chg="undo custSel modSld">
      <pc:chgData name="DORTOMB Frederic" userId="961958c9-6f45-4a80-b51c-03b01cd8ab6f" providerId="ADAL" clId="{E80A4F2D-0581-46CA-9E00-6342EEE51926}" dt="2022-06-18T10:05:21.400" v="3043" actId="14100"/>
      <pc:docMkLst>
        <pc:docMk/>
      </pc:docMkLst>
      <pc:sldChg chg="modSp mod">
        <pc:chgData name="DORTOMB Frederic" userId="961958c9-6f45-4a80-b51c-03b01cd8ab6f" providerId="ADAL" clId="{E80A4F2D-0581-46CA-9E00-6342EEE51926}" dt="2022-06-18T10:05:21.400" v="3043" actId="14100"/>
        <pc:sldMkLst>
          <pc:docMk/>
          <pc:sldMk cId="2359043163" sldId="275"/>
        </pc:sldMkLst>
        <pc:spChg chg="mod">
          <ac:chgData name="DORTOMB Frederic" userId="961958c9-6f45-4a80-b51c-03b01cd8ab6f" providerId="ADAL" clId="{E80A4F2D-0581-46CA-9E00-6342EEE51926}" dt="2022-06-18T10:05:21.400" v="3043" actId="14100"/>
          <ac:spMkLst>
            <pc:docMk/>
            <pc:sldMk cId="2359043163" sldId="275"/>
            <ac:spMk id="56" creationId="{37D8FB33-3C2C-4049-937B-EA730E47E164}"/>
          </ac:spMkLst>
        </pc:spChg>
      </pc:sldChg>
      <pc:sldChg chg="addSp delSp modSp mod">
        <pc:chgData name="DORTOMB Frederic" userId="961958c9-6f45-4a80-b51c-03b01cd8ab6f" providerId="ADAL" clId="{E80A4F2D-0581-46CA-9E00-6342EEE51926}" dt="2022-06-18T10:04:21.178" v="2970" actId="14100"/>
        <pc:sldMkLst>
          <pc:docMk/>
          <pc:sldMk cId="263765170" sldId="279"/>
        </pc:sldMkLst>
        <pc:spChg chg="mod ord">
          <ac:chgData name="DORTOMB Frederic" userId="961958c9-6f45-4a80-b51c-03b01cd8ab6f" providerId="ADAL" clId="{E80A4F2D-0581-46CA-9E00-6342EEE51926}" dt="2022-06-17T13:53:33.005" v="2829"/>
          <ac:spMkLst>
            <pc:docMk/>
            <pc:sldMk cId="263765170" sldId="279"/>
            <ac:spMk id="2" creationId="{22D24C96-7543-474E-B00F-BCD0EF9041EE}"/>
          </ac:spMkLst>
        </pc:spChg>
        <pc:spChg chg="add mod ord">
          <ac:chgData name="DORTOMB Frederic" userId="961958c9-6f45-4a80-b51c-03b01cd8ab6f" providerId="ADAL" clId="{E80A4F2D-0581-46CA-9E00-6342EEE51926}" dt="2022-06-18T10:04:21.178" v="2970" actId="14100"/>
          <ac:spMkLst>
            <pc:docMk/>
            <pc:sldMk cId="263765170" sldId="279"/>
            <ac:spMk id="4" creationId="{CD3D970C-77AE-4A68-922C-8026907A284C}"/>
          </ac:spMkLst>
        </pc:spChg>
        <pc:spChg chg="mod ord">
          <ac:chgData name="DORTOMB Frederic" userId="961958c9-6f45-4a80-b51c-03b01cd8ab6f" providerId="ADAL" clId="{E80A4F2D-0581-46CA-9E00-6342EEE51926}" dt="2022-06-17T13:53:33.005" v="2827"/>
          <ac:spMkLst>
            <pc:docMk/>
            <pc:sldMk cId="263765170" sldId="279"/>
            <ac:spMk id="5" creationId="{6F9194CB-EB30-45DD-A4CA-FD12B4BDA089}"/>
          </ac:spMkLst>
        </pc:spChg>
        <pc:spChg chg="mod ord">
          <ac:chgData name="DORTOMB Frederic" userId="961958c9-6f45-4a80-b51c-03b01cd8ab6f" providerId="ADAL" clId="{E80A4F2D-0581-46CA-9E00-6342EEE51926}" dt="2022-06-17T13:54:45.656" v="2898" actId="20577"/>
          <ac:spMkLst>
            <pc:docMk/>
            <pc:sldMk cId="263765170" sldId="279"/>
            <ac:spMk id="11" creationId="{4310A109-750C-463C-A44F-CE0096C43ED2}"/>
          </ac:spMkLst>
        </pc:spChg>
        <pc:spChg chg="mod ord">
          <ac:chgData name="DORTOMB Frederic" userId="961958c9-6f45-4a80-b51c-03b01cd8ab6f" providerId="ADAL" clId="{E80A4F2D-0581-46CA-9E00-6342EEE51926}" dt="2022-06-17T13:53:33.006" v="2833"/>
          <ac:spMkLst>
            <pc:docMk/>
            <pc:sldMk cId="263765170" sldId="279"/>
            <ac:spMk id="12" creationId="{181C4A69-1AE6-47F0-9224-EED317ADCD7D}"/>
          </ac:spMkLst>
        </pc:spChg>
        <pc:spChg chg="mod ord">
          <ac:chgData name="DORTOMB Frederic" userId="961958c9-6f45-4a80-b51c-03b01cd8ab6f" providerId="ADAL" clId="{E80A4F2D-0581-46CA-9E00-6342EEE51926}" dt="2022-06-17T13:53:33.007" v="2840"/>
          <ac:spMkLst>
            <pc:docMk/>
            <pc:sldMk cId="263765170" sldId="279"/>
            <ac:spMk id="17" creationId="{C7A010E6-92E4-4874-B5C2-5BBA4BCB76B4}"/>
          </ac:spMkLst>
        </pc:spChg>
        <pc:spChg chg="mod ord">
          <ac:chgData name="DORTOMB Frederic" userId="961958c9-6f45-4a80-b51c-03b01cd8ab6f" providerId="ADAL" clId="{E80A4F2D-0581-46CA-9E00-6342EEE51926}" dt="2022-06-17T13:53:33.008" v="2844"/>
          <ac:spMkLst>
            <pc:docMk/>
            <pc:sldMk cId="263765170" sldId="279"/>
            <ac:spMk id="22" creationId="{AF807B32-7854-4555-8207-A55854D37866}"/>
          </ac:spMkLst>
        </pc:spChg>
        <pc:spChg chg="mod ord">
          <ac:chgData name="DORTOMB Frederic" userId="961958c9-6f45-4a80-b51c-03b01cd8ab6f" providerId="ADAL" clId="{E80A4F2D-0581-46CA-9E00-6342EEE51926}" dt="2022-06-17T13:53:33.006" v="2831"/>
          <ac:spMkLst>
            <pc:docMk/>
            <pc:sldMk cId="263765170" sldId="279"/>
            <ac:spMk id="23" creationId="{904A74E1-87FB-4FFF-BC99-7A1738BD5217}"/>
          </ac:spMkLst>
        </pc:spChg>
        <pc:spChg chg="del mod">
          <ac:chgData name="DORTOMB Frederic" userId="961958c9-6f45-4a80-b51c-03b01cd8ab6f" providerId="ADAL" clId="{E80A4F2D-0581-46CA-9E00-6342EEE51926}" dt="2022-06-17T13:14:30.354" v="1920"/>
          <ac:spMkLst>
            <pc:docMk/>
            <pc:sldMk cId="263765170" sldId="279"/>
            <ac:spMk id="24" creationId="{9BC80517-8798-406A-813A-23892A6E84BD}"/>
          </ac:spMkLst>
        </pc:spChg>
        <pc:spChg chg="mod ord">
          <ac:chgData name="DORTOMB Frederic" userId="961958c9-6f45-4a80-b51c-03b01cd8ab6f" providerId="ADAL" clId="{E80A4F2D-0581-46CA-9E00-6342EEE51926}" dt="2022-06-17T13:53:33.007" v="2838"/>
          <ac:spMkLst>
            <pc:docMk/>
            <pc:sldMk cId="263765170" sldId="279"/>
            <ac:spMk id="26" creationId="{0E3745F0-8EEF-4614-91BB-053B5DC50958}"/>
          </ac:spMkLst>
        </pc:spChg>
        <pc:spChg chg="mod ord">
          <ac:chgData name="DORTOMB Frederic" userId="961958c9-6f45-4a80-b51c-03b01cd8ab6f" providerId="ADAL" clId="{E80A4F2D-0581-46CA-9E00-6342EEE51926}" dt="2022-06-17T13:53:33.009" v="2848"/>
          <ac:spMkLst>
            <pc:docMk/>
            <pc:sldMk cId="263765170" sldId="279"/>
            <ac:spMk id="27" creationId="{2EC46C95-F4D5-4B92-89B5-0DF712E5F31C}"/>
          </ac:spMkLst>
        </pc:spChg>
        <pc:spChg chg="mod ord">
          <ac:chgData name="DORTOMB Frederic" userId="961958c9-6f45-4a80-b51c-03b01cd8ab6f" providerId="ADAL" clId="{E80A4F2D-0581-46CA-9E00-6342EEE51926}" dt="2022-06-17T13:53:33.009" v="2850"/>
          <ac:spMkLst>
            <pc:docMk/>
            <pc:sldMk cId="263765170" sldId="279"/>
            <ac:spMk id="28" creationId="{767D7717-AC37-4545-AA23-CADB80378425}"/>
          </ac:spMkLst>
        </pc:spChg>
        <pc:spChg chg="mod ord">
          <ac:chgData name="DORTOMB Frederic" userId="961958c9-6f45-4a80-b51c-03b01cd8ab6f" providerId="ADAL" clId="{E80A4F2D-0581-46CA-9E00-6342EEE51926}" dt="2022-06-17T13:53:33.009" v="2852"/>
          <ac:spMkLst>
            <pc:docMk/>
            <pc:sldMk cId="263765170" sldId="279"/>
            <ac:spMk id="29" creationId="{6790621D-BC3F-496D-9488-8FAFFD5831C9}"/>
          </ac:spMkLst>
        </pc:spChg>
        <pc:spChg chg="mod ord">
          <ac:chgData name="DORTOMB Frederic" userId="961958c9-6f45-4a80-b51c-03b01cd8ab6f" providerId="ADAL" clId="{E80A4F2D-0581-46CA-9E00-6342EEE51926}" dt="2022-06-17T13:53:33.010" v="2854"/>
          <ac:spMkLst>
            <pc:docMk/>
            <pc:sldMk cId="263765170" sldId="279"/>
            <ac:spMk id="30" creationId="{2E69D75F-3F2E-49DD-B0C1-E8C92424345D}"/>
          </ac:spMkLst>
        </pc:spChg>
        <pc:spChg chg="add mod ord">
          <ac:chgData name="DORTOMB Frederic" userId="961958c9-6f45-4a80-b51c-03b01cd8ab6f" providerId="ADAL" clId="{E80A4F2D-0581-46CA-9E00-6342EEE51926}" dt="2022-06-17T13:53:33.011" v="2864"/>
          <ac:spMkLst>
            <pc:docMk/>
            <pc:sldMk cId="263765170" sldId="279"/>
            <ac:spMk id="35" creationId="{4F59CD20-BFD5-4EA5-9CA0-AFA61396BFDD}"/>
          </ac:spMkLst>
        </pc:spChg>
        <pc:grpChg chg="add mod ord">
          <ac:chgData name="DORTOMB Frederic" userId="961958c9-6f45-4a80-b51c-03b01cd8ab6f" providerId="ADAL" clId="{E80A4F2D-0581-46CA-9E00-6342EEE51926}" dt="2022-06-17T13:54:00.200" v="2891" actId="1036"/>
          <ac:grpSpMkLst>
            <pc:docMk/>
            <pc:sldMk cId="263765170" sldId="279"/>
            <ac:grpSpMk id="3" creationId="{D72B052A-3527-4034-8448-62744F887DA6}"/>
          </ac:grpSpMkLst>
        </pc:grpChg>
        <pc:graphicFrameChg chg="add mod ord modVis">
          <ac:chgData name="DORTOMB Frederic" userId="961958c9-6f45-4a80-b51c-03b01cd8ab6f" providerId="ADAL" clId="{E80A4F2D-0581-46CA-9E00-6342EEE51926}" dt="2022-06-17T13:53:33.045" v="2879"/>
          <ac:graphicFrameMkLst>
            <pc:docMk/>
            <pc:sldMk cId="263765170" sldId="279"/>
            <ac:graphicFrameMk id="6" creationId="{36B8F8BA-9978-43CB-A8DB-E8A662351C24}"/>
          </ac:graphicFrameMkLst>
        </pc:graphicFrameChg>
        <pc:picChg chg="mod">
          <ac:chgData name="DORTOMB Frederic" userId="961958c9-6f45-4a80-b51c-03b01cd8ab6f" providerId="ADAL" clId="{E80A4F2D-0581-46CA-9E00-6342EEE51926}" dt="2022-06-17T13:53:04.253" v="2807" actId="164"/>
          <ac:picMkLst>
            <pc:docMk/>
            <pc:sldMk cId="263765170" sldId="279"/>
            <ac:picMk id="7" creationId="{2E2F3257-514B-4313-9191-BF2FE78A446C}"/>
          </ac:picMkLst>
        </pc:picChg>
        <pc:picChg chg="mod ord">
          <ac:chgData name="DORTOMB Frederic" userId="961958c9-6f45-4a80-b51c-03b01cd8ab6f" providerId="ADAL" clId="{E80A4F2D-0581-46CA-9E00-6342EEE51926}" dt="2022-06-17T13:53:33.005" v="2825"/>
          <ac:picMkLst>
            <pc:docMk/>
            <pc:sldMk cId="263765170" sldId="279"/>
            <ac:picMk id="10" creationId="{D15A2E60-ADAB-4406-92E8-9AA432FDAF24}"/>
          </ac:picMkLst>
        </pc:picChg>
        <pc:picChg chg="mod">
          <ac:chgData name="DORTOMB Frederic" userId="961958c9-6f45-4a80-b51c-03b01cd8ab6f" providerId="ADAL" clId="{E80A4F2D-0581-46CA-9E00-6342EEE51926}" dt="2022-06-17T13:53:33.007" v="2836"/>
          <ac:picMkLst>
            <pc:docMk/>
            <pc:sldMk cId="263765170" sldId="279"/>
            <ac:picMk id="14" creationId="{48C91AA5-2DD9-46BC-8804-B11498E59D88}"/>
          </ac:picMkLst>
        </pc:picChg>
        <pc:picChg chg="mod ord">
          <ac:chgData name="DORTOMB Frederic" userId="961958c9-6f45-4a80-b51c-03b01cd8ab6f" providerId="ADAL" clId="{E80A4F2D-0581-46CA-9E00-6342EEE51926}" dt="2022-06-17T13:53:33.008" v="2842"/>
          <ac:picMkLst>
            <pc:docMk/>
            <pc:sldMk cId="263765170" sldId="279"/>
            <ac:picMk id="18" creationId="{37B04F6B-AA4B-4B4E-9CA0-AE586955B2C8}"/>
          </ac:picMkLst>
        </pc:picChg>
        <pc:picChg chg="mod">
          <ac:chgData name="DORTOMB Frederic" userId="961958c9-6f45-4a80-b51c-03b01cd8ab6f" providerId="ADAL" clId="{E80A4F2D-0581-46CA-9E00-6342EEE51926}" dt="2022-06-17T13:53:04.253" v="2807" actId="164"/>
          <ac:picMkLst>
            <pc:docMk/>
            <pc:sldMk cId="263765170" sldId="279"/>
            <ac:picMk id="25" creationId="{36D51975-3EAA-446F-AF25-B3F7BE4C3D0B}"/>
          </ac:picMkLst>
        </pc:picChg>
        <pc:picChg chg="mod ord">
          <ac:chgData name="DORTOMB Frederic" userId="961958c9-6f45-4a80-b51c-03b01cd8ab6f" providerId="ADAL" clId="{E80A4F2D-0581-46CA-9E00-6342EEE51926}" dt="2022-06-17T13:53:33.010" v="2856"/>
          <ac:picMkLst>
            <pc:docMk/>
            <pc:sldMk cId="263765170" sldId="279"/>
            <ac:picMk id="31" creationId="{730088AD-9E10-404E-A436-06A5C05BCE70}"/>
          </ac:picMkLst>
        </pc:picChg>
        <pc:picChg chg="mod ord">
          <ac:chgData name="DORTOMB Frederic" userId="961958c9-6f45-4a80-b51c-03b01cd8ab6f" providerId="ADAL" clId="{E80A4F2D-0581-46CA-9E00-6342EEE51926}" dt="2022-06-17T13:53:33.010" v="2858"/>
          <ac:picMkLst>
            <pc:docMk/>
            <pc:sldMk cId="263765170" sldId="279"/>
            <ac:picMk id="32" creationId="{70DAB1A9-2DB0-485A-B74B-A57C00D9E9ED}"/>
          </ac:picMkLst>
        </pc:picChg>
        <pc:picChg chg="mod ord">
          <ac:chgData name="DORTOMB Frederic" userId="961958c9-6f45-4a80-b51c-03b01cd8ab6f" providerId="ADAL" clId="{E80A4F2D-0581-46CA-9E00-6342EEE51926}" dt="2022-06-17T13:53:33.011" v="2860"/>
          <ac:picMkLst>
            <pc:docMk/>
            <pc:sldMk cId="263765170" sldId="279"/>
            <ac:picMk id="33" creationId="{A4A8D6BD-9C55-4EA1-99E3-23D4BB82494D}"/>
          </ac:picMkLst>
        </pc:picChg>
        <pc:picChg chg="mod ord">
          <ac:chgData name="DORTOMB Frederic" userId="961958c9-6f45-4a80-b51c-03b01cd8ab6f" providerId="ADAL" clId="{E80A4F2D-0581-46CA-9E00-6342EEE51926}" dt="2022-06-17T13:53:33.011" v="2862"/>
          <ac:picMkLst>
            <pc:docMk/>
            <pc:sldMk cId="263765170" sldId="279"/>
            <ac:picMk id="34" creationId="{15045831-C71D-4FDC-AA81-09A0C0708527}"/>
          </ac:picMkLst>
        </pc:picChg>
      </pc:sldChg>
      <pc:sldChg chg="addSp delSp modSp mod">
        <pc:chgData name="DORTOMB Frederic" userId="961958c9-6f45-4a80-b51c-03b01cd8ab6f" providerId="ADAL" clId="{E80A4F2D-0581-46CA-9E00-6342EEE51926}" dt="2022-06-17T13:34:11.977" v="2486" actId="20577"/>
        <pc:sldMkLst>
          <pc:docMk/>
          <pc:sldMk cId="2706805019" sldId="280"/>
        </pc:sldMkLst>
        <pc:spChg chg="del">
          <ac:chgData name="DORTOMB Frederic" userId="961958c9-6f45-4a80-b51c-03b01cd8ab6f" providerId="ADAL" clId="{E80A4F2D-0581-46CA-9E00-6342EEE51926}" dt="2022-06-17T13:24:18.847" v="2096" actId="21"/>
          <ac:spMkLst>
            <pc:docMk/>
            <pc:sldMk cId="2706805019" sldId="280"/>
            <ac:spMk id="7" creationId="{4ACC618B-55C4-41A1-BF1C-6E517875414C}"/>
          </ac:spMkLst>
        </pc:spChg>
        <pc:spChg chg="del">
          <ac:chgData name="DORTOMB Frederic" userId="961958c9-6f45-4a80-b51c-03b01cd8ab6f" providerId="ADAL" clId="{E80A4F2D-0581-46CA-9E00-6342EEE51926}" dt="2022-06-17T13:23:58.358" v="2017" actId="21"/>
          <ac:spMkLst>
            <pc:docMk/>
            <pc:sldMk cId="2706805019" sldId="280"/>
            <ac:spMk id="8" creationId="{CEAF3164-8F83-495B-B42C-F3594117442A}"/>
          </ac:spMkLst>
        </pc:spChg>
        <pc:spChg chg="add mod">
          <ac:chgData name="DORTOMB Frederic" userId="961958c9-6f45-4a80-b51c-03b01cd8ab6f" providerId="ADAL" clId="{E80A4F2D-0581-46CA-9E00-6342EEE51926}" dt="2022-06-17T13:33:25.020" v="2471" actId="1036"/>
          <ac:spMkLst>
            <pc:docMk/>
            <pc:sldMk cId="2706805019" sldId="280"/>
            <ac:spMk id="9" creationId="{5F0F6ED7-B9FD-4D8F-BCE0-BC93652DFA9A}"/>
          </ac:spMkLst>
        </pc:spChg>
        <pc:spChg chg="add mod">
          <ac:chgData name="DORTOMB Frederic" userId="961958c9-6f45-4a80-b51c-03b01cd8ab6f" providerId="ADAL" clId="{E80A4F2D-0581-46CA-9E00-6342EEE51926}" dt="2022-06-17T13:34:11.977" v="2486" actId="20577"/>
          <ac:spMkLst>
            <pc:docMk/>
            <pc:sldMk cId="2706805019" sldId="280"/>
            <ac:spMk id="10" creationId="{65F439D4-948A-4D69-8669-2248A6F619D9}"/>
          </ac:spMkLst>
        </pc:spChg>
        <pc:spChg chg="add mod">
          <ac:chgData name="DORTOMB Frederic" userId="961958c9-6f45-4a80-b51c-03b01cd8ab6f" providerId="ADAL" clId="{E80A4F2D-0581-46CA-9E00-6342EEE51926}" dt="2022-06-17T13:33:54.528" v="2479" actId="20577"/>
          <ac:spMkLst>
            <pc:docMk/>
            <pc:sldMk cId="2706805019" sldId="280"/>
            <ac:spMk id="11" creationId="{172E8349-AF8E-4351-BA35-8E04024C3CC5}"/>
          </ac:spMkLst>
        </pc:spChg>
        <pc:spChg chg="mod">
          <ac:chgData name="DORTOMB Frederic" userId="961958c9-6f45-4a80-b51c-03b01cd8ab6f" providerId="ADAL" clId="{E80A4F2D-0581-46CA-9E00-6342EEE51926}" dt="2022-06-17T13:33:10.494" v="2449" actId="123"/>
          <ac:spMkLst>
            <pc:docMk/>
            <pc:sldMk cId="2706805019" sldId="280"/>
            <ac:spMk id="37" creationId="{6EC800BA-8275-4F26-BBD6-721A77B7F255}"/>
          </ac:spMkLst>
        </pc:spChg>
      </pc:sldChg>
      <pc:sldChg chg="addSp delSp modSp mod">
        <pc:chgData name="DORTOMB Frederic" userId="961958c9-6f45-4a80-b51c-03b01cd8ab6f" providerId="ADAL" clId="{E80A4F2D-0581-46CA-9E00-6342EEE51926}" dt="2022-06-18T10:04:43.460" v="2972" actId="20577"/>
        <pc:sldMkLst>
          <pc:docMk/>
          <pc:sldMk cId="2425911984" sldId="281"/>
        </pc:sldMkLst>
        <pc:spChg chg="del">
          <ac:chgData name="DORTOMB Frederic" userId="961958c9-6f45-4a80-b51c-03b01cd8ab6f" providerId="ADAL" clId="{E80A4F2D-0581-46CA-9E00-6342EEE51926}" dt="2022-06-17T13:23:42.745" v="2014" actId="21"/>
          <ac:spMkLst>
            <pc:docMk/>
            <pc:sldMk cId="2425911984" sldId="281"/>
            <ac:spMk id="7" creationId="{1DC2C958-4EF7-43E4-A13D-764BE11C7529}"/>
          </ac:spMkLst>
        </pc:spChg>
        <pc:spChg chg="mod">
          <ac:chgData name="DORTOMB Frederic" userId="961958c9-6f45-4a80-b51c-03b01cd8ab6f" providerId="ADAL" clId="{E80A4F2D-0581-46CA-9E00-6342EEE51926}" dt="2022-06-17T14:02:11.686" v="2948" actId="113"/>
          <ac:spMkLst>
            <pc:docMk/>
            <pc:sldMk cId="2425911984" sldId="281"/>
            <ac:spMk id="8" creationId="{FC9B6322-A567-4423-895B-9BEB693DC8CC}"/>
          </ac:spMkLst>
        </pc:spChg>
        <pc:spChg chg="mod">
          <ac:chgData name="DORTOMB Frederic" userId="961958c9-6f45-4a80-b51c-03b01cd8ab6f" providerId="ADAL" clId="{E80A4F2D-0581-46CA-9E00-6342EEE51926}" dt="2022-06-17T13:55:52.360" v="2904" actId="113"/>
          <ac:spMkLst>
            <pc:docMk/>
            <pc:sldMk cId="2425911984" sldId="281"/>
            <ac:spMk id="10" creationId="{0E57E31F-A7EB-4223-89D1-5D46B5CE38DC}"/>
          </ac:spMkLst>
        </pc:spChg>
        <pc:spChg chg="mod">
          <ac:chgData name="DORTOMB Frederic" userId="961958c9-6f45-4a80-b51c-03b01cd8ab6f" providerId="ADAL" clId="{E80A4F2D-0581-46CA-9E00-6342EEE51926}" dt="2022-06-17T14:02:29.865" v="2949" actId="113"/>
          <ac:spMkLst>
            <pc:docMk/>
            <pc:sldMk cId="2425911984" sldId="281"/>
            <ac:spMk id="11" creationId="{9D619875-1021-48C3-8D0D-0DE4796F4984}"/>
          </ac:spMkLst>
        </pc:spChg>
        <pc:spChg chg="add mod">
          <ac:chgData name="DORTOMB Frederic" userId="961958c9-6f45-4a80-b51c-03b01cd8ab6f" providerId="ADAL" clId="{E80A4F2D-0581-46CA-9E00-6342EEE51926}" dt="2022-06-17T13:49:38.426" v="2754" actId="5793"/>
          <ac:spMkLst>
            <pc:docMk/>
            <pc:sldMk cId="2425911984" sldId="281"/>
            <ac:spMk id="12" creationId="{DEFDECE6-BCDC-4149-B7BE-80C04B5462E0}"/>
          </ac:spMkLst>
        </pc:spChg>
        <pc:spChg chg="mod">
          <ac:chgData name="DORTOMB Frederic" userId="961958c9-6f45-4a80-b51c-03b01cd8ab6f" providerId="ADAL" clId="{E80A4F2D-0581-46CA-9E00-6342EEE51926}" dt="2022-06-17T13:35:42.408" v="2521" actId="1035"/>
          <ac:spMkLst>
            <pc:docMk/>
            <pc:sldMk cId="2425911984" sldId="281"/>
            <ac:spMk id="13" creationId="{3CEAA76F-209B-414E-BC9A-2A6C15F752BC}"/>
          </ac:spMkLst>
        </pc:spChg>
        <pc:spChg chg="add mod">
          <ac:chgData name="DORTOMB Frederic" userId="961958c9-6f45-4a80-b51c-03b01cd8ab6f" providerId="ADAL" clId="{E80A4F2D-0581-46CA-9E00-6342EEE51926}" dt="2022-06-18T10:04:43.460" v="2972" actId="20577"/>
          <ac:spMkLst>
            <pc:docMk/>
            <pc:sldMk cId="2425911984" sldId="281"/>
            <ac:spMk id="14" creationId="{504305EE-43D8-4022-B0EA-EDDA9D2A6535}"/>
          </ac:spMkLst>
        </pc:spChg>
        <pc:spChg chg="mod">
          <ac:chgData name="DORTOMB Frederic" userId="961958c9-6f45-4a80-b51c-03b01cd8ab6f" providerId="ADAL" clId="{E80A4F2D-0581-46CA-9E00-6342EEE51926}" dt="2022-06-17T13:54:55.942" v="2903" actId="20577"/>
          <ac:spMkLst>
            <pc:docMk/>
            <pc:sldMk cId="2425911984" sldId="281"/>
            <ac:spMk id="20" creationId="{A321D76A-F6EA-4D2C-BA1D-2394EC7E8C48}"/>
          </ac:spMkLst>
        </pc:spChg>
        <pc:spChg chg="mod">
          <ac:chgData name="DORTOMB Frederic" userId="961958c9-6f45-4a80-b51c-03b01cd8ab6f" providerId="ADAL" clId="{E80A4F2D-0581-46CA-9E00-6342EEE51926}" dt="2022-06-17T13:26:06.975" v="2202" actId="1076"/>
          <ac:spMkLst>
            <pc:docMk/>
            <pc:sldMk cId="2425911984" sldId="281"/>
            <ac:spMk id="37" creationId="{6EC800BA-8275-4F26-BBD6-721A77B7F255}"/>
          </ac:spMkLst>
        </pc:spChg>
        <pc:picChg chg="mod">
          <ac:chgData name="DORTOMB Frederic" userId="961958c9-6f45-4a80-b51c-03b01cd8ab6f" providerId="ADAL" clId="{E80A4F2D-0581-46CA-9E00-6342EEE51926}" dt="2022-06-17T13:37:11.712" v="2723" actId="1038"/>
          <ac:picMkLst>
            <pc:docMk/>
            <pc:sldMk cId="2425911984" sldId="281"/>
            <ac:picMk id="4" creationId="{AC8D1087-B845-4E2D-A5E8-165FBF484416}"/>
          </ac:picMkLst>
        </pc:picChg>
      </pc:sldChg>
    </pc:docChg>
  </pc:docChgLst>
  <pc:docChgLst>
    <pc:chgData name="LAURIOZ Hubert" userId="042c0725-f647-406f-add6-64a715f31917" providerId="ADAL" clId="{F0C62922-55A7-407C-A165-2FC8EFF778AB}"/>
    <pc:docChg chg="undo custSel modSld">
      <pc:chgData name="LAURIOZ Hubert" userId="042c0725-f647-406f-add6-64a715f31917" providerId="ADAL" clId="{F0C62922-55A7-407C-A165-2FC8EFF778AB}" dt="2022-02-24T12:20:35.964" v="1708" actId="20577"/>
      <pc:docMkLst>
        <pc:docMk/>
      </pc:docMkLst>
      <pc:sldChg chg="addSp delSp modSp mod">
        <pc:chgData name="LAURIOZ Hubert" userId="042c0725-f647-406f-add6-64a715f31917" providerId="ADAL" clId="{F0C62922-55A7-407C-A165-2FC8EFF778AB}" dt="2022-02-24T11:56:06.168" v="1190" actId="20577"/>
        <pc:sldMkLst>
          <pc:docMk/>
          <pc:sldMk cId="3961122517" sldId="267"/>
        </pc:sldMkLst>
        <pc:spChg chg="mod">
          <ac:chgData name="LAURIOZ Hubert" userId="042c0725-f647-406f-add6-64a715f31917" providerId="ADAL" clId="{F0C62922-55A7-407C-A165-2FC8EFF778AB}" dt="2022-02-24T11:10:14.099" v="796" actId="1036"/>
          <ac:spMkLst>
            <pc:docMk/>
            <pc:sldMk cId="3961122517" sldId="267"/>
            <ac:spMk id="2" creationId="{22D24C96-7543-474E-B00F-BCD0EF9041EE}"/>
          </ac:spMkLst>
        </pc:spChg>
        <pc:spChg chg="mod">
          <ac:chgData name="LAURIOZ Hubert" userId="042c0725-f647-406f-add6-64a715f31917" providerId="ADAL" clId="{F0C62922-55A7-407C-A165-2FC8EFF778AB}" dt="2022-02-24T11:07:14.618" v="747" actId="1035"/>
          <ac:spMkLst>
            <pc:docMk/>
            <pc:sldMk cId="3961122517" sldId="267"/>
            <ac:spMk id="8" creationId="{D4B20E88-B586-4A4B-BF6D-11604951AC21}"/>
          </ac:spMkLst>
        </pc:spChg>
        <pc:spChg chg="mod">
          <ac:chgData name="LAURIOZ Hubert" userId="042c0725-f647-406f-add6-64a715f31917" providerId="ADAL" clId="{F0C62922-55A7-407C-A165-2FC8EFF778AB}" dt="2022-02-24T11:07:22.657" v="760" actId="1035"/>
          <ac:spMkLst>
            <pc:docMk/>
            <pc:sldMk cId="3961122517" sldId="267"/>
            <ac:spMk id="11" creationId="{4310A109-750C-463C-A44F-CE0096C43ED2}"/>
          </ac:spMkLst>
        </pc:spChg>
        <pc:spChg chg="mod">
          <ac:chgData name="LAURIOZ Hubert" userId="042c0725-f647-406f-add6-64a715f31917" providerId="ADAL" clId="{F0C62922-55A7-407C-A165-2FC8EFF778AB}" dt="2022-02-24T11:08:44.336" v="768" actId="14100"/>
          <ac:spMkLst>
            <pc:docMk/>
            <pc:sldMk cId="3961122517" sldId="267"/>
            <ac:spMk id="12" creationId="{181C4A69-1AE6-47F0-9224-EED317ADCD7D}"/>
          </ac:spMkLst>
        </pc:spChg>
        <pc:spChg chg="mod">
          <ac:chgData name="LAURIOZ Hubert" userId="042c0725-f647-406f-add6-64a715f31917" providerId="ADAL" clId="{F0C62922-55A7-407C-A165-2FC8EFF778AB}" dt="2022-02-24T11:56:06.168" v="1190" actId="20577"/>
          <ac:spMkLst>
            <pc:docMk/>
            <pc:sldMk cId="3961122517" sldId="267"/>
            <ac:spMk id="16" creationId="{3A1AEA27-126A-4AC2-BD3C-3150E8CA0ADC}"/>
          </ac:spMkLst>
        </pc:spChg>
        <pc:spChg chg="mod">
          <ac:chgData name="LAURIOZ Hubert" userId="042c0725-f647-406f-add6-64a715f31917" providerId="ADAL" clId="{F0C62922-55A7-407C-A165-2FC8EFF778AB}" dt="2022-02-24T11:07:14.618" v="747" actId="1035"/>
          <ac:spMkLst>
            <pc:docMk/>
            <pc:sldMk cId="3961122517" sldId="267"/>
            <ac:spMk id="18" creationId="{B7BFA590-74AE-4831-88EB-B0F6462CA88C}"/>
          </ac:spMkLst>
        </pc:spChg>
        <pc:spChg chg="mod">
          <ac:chgData name="LAURIOZ Hubert" userId="042c0725-f647-406f-add6-64a715f31917" providerId="ADAL" clId="{F0C62922-55A7-407C-A165-2FC8EFF778AB}" dt="2022-02-24T11:08:33.584" v="767" actId="14100"/>
          <ac:spMkLst>
            <pc:docMk/>
            <pc:sldMk cId="3961122517" sldId="267"/>
            <ac:spMk id="20" creationId="{406B854E-F8CB-4D82-95F5-3EA39D6BDA07}"/>
          </ac:spMkLst>
        </pc:spChg>
        <pc:spChg chg="mod">
          <ac:chgData name="LAURIOZ Hubert" userId="042c0725-f647-406f-add6-64a715f31917" providerId="ADAL" clId="{F0C62922-55A7-407C-A165-2FC8EFF778AB}" dt="2022-02-24T11:10:26.758" v="805" actId="1035"/>
          <ac:spMkLst>
            <pc:docMk/>
            <pc:sldMk cId="3961122517" sldId="267"/>
            <ac:spMk id="26" creationId="{0E3745F0-8EEF-4614-91BB-053B5DC50958}"/>
          </ac:spMkLst>
        </pc:spChg>
        <pc:grpChg chg="add mod">
          <ac:chgData name="LAURIOZ Hubert" userId="042c0725-f647-406f-add6-64a715f31917" providerId="ADAL" clId="{F0C62922-55A7-407C-A165-2FC8EFF778AB}" dt="2022-02-24T11:21:09.256" v="822" actId="1076"/>
          <ac:grpSpMkLst>
            <pc:docMk/>
            <pc:sldMk cId="3961122517" sldId="267"/>
            <ac:grpSpMk id="13" creationId="{37D3AE5B-99E5-4089-B83D-492638A038B0}"/>
          </ac:grpSpMkLst>
        </pc:grpChg>
        <pc:picChg chg="mod">
          <ac:chgData name="LAURIOZ Hubert" userId="042c0725-f647-406f-add6-64a715f31917" providerId="ADAL" clId="{F0C62922-55A7-407C-A165-2FC8EFF778AB}" dt="2022-02-24T11:20:30.167" v="820" actId="164"/>
          <ac:picMkLst>
            <pc:docMk/>
            <pc:sldMk cId="3961122517" sldId="267"/>
            <ac:picMk id="4" creationId="{594E31ED-18FC-4B9B-870A-2B6C812DE3BF}"/>
          </ac:picMkLst>
        </pc:picChg>
        <pc:picChg chg="add del mod">
          <ac:chgData name="LAURIOZ Hubert" userId="042c0725-f647-406f-add6-64a715f31917" providerId="ADAL" clId="{F0C62922-55A7-407C-A165-2FC8EFF778AB}" dt="2022-02-24T11:12:14.443" v="810" actId="478"/>
          <ac:picMkLst>
            <pc:docMk/>
            <pc:sldMk cId="3961122517" sldId="267"/>
            <ac:picMk id="6" creationId="{465DEBF9-DA84-445D-96E3-E5198D4498D8}"/>
          </ac:picMkLst>
        </pc:picChg>
        <pc:picChg chg="add del mod">
          <ac:chgData name="LAURIOZ Hubert" userId="042c0725-f647-406f-add6-64a715f31917" providerId="ADAL" clId="{F0C62922-55A7-407C-A165-2FC8EFF778AB}" dt="2022-02-24T11:17:03.162" v="815"/>
          <ac:picMkLst>
            <pc:docMk/>
            <pc:sldMk cId="3961122517" sldId="267"/>
            <ac:picMk id="9" creationId="{2DA00818-CF94-40D8-A973-E35351D9D096}"/>
          </ac:picMkLst>
        </pc:picChg>
        <pc:picChg chg="mod">
          <ac:chgData name="LAURIOZ Hubert" userId="042c0725-f647-406f-add6-64a715f31917" providerId="ADAL" clId="{F0C62922-55A7-407C-A165-2FC8EFF778AB}" dt="2022-02-24T11:10:00.156" v="775" actId="1076"/>
          <ac:picMkLst>
            <pc:docMk/>
            <pc:sldMk cId="3961122517" sldId="267"/>
            <ac:picMk id="14" creationId="{48C91AA5-2DD9-46BC-8804-B11498E59D88}"/>
          </ac:picMkLst>
        </pc:picChg>
        <pc:picChg chg="add mod">
          <ac:chgData name="LAURIOZ Hubert" userId="042c0725-f647-406f-add6-64a715f31917" providerId="ADAL" clId="{F0C62922-55A7-407C-A165-2FC8EFF778AB}" dt="2022-02-24T11:21:21.222" v="823"/>
          <ac:picMkLst>
            <pc:docMk/>
            <pc:sldMk cId="3961122517" sldId="267"/>
            <ac:picMk id="19" creationId="{ED6CF647-F548-4000-92CE-5C245C9B6EA6}"/>
          </ac:picMkLst>
        </pc:picChg>
      </pc:sldChg>
      <pc:sldChg chg="addSp delSp modSp mod">
        <pc:chgData name="LAURIOZ Hubert" userId="042c0725-f647-406f-add6-64a715f31917" providerId="ADAL" clId="{F0C62922-55A7-407C-A165-2FC8EFF778AB}" dt="2022-02-24T12:20:35.964" v="1708" actId="20577"/>
        <pc:sldMkLst>
          <pc:docMk/>
          <pc:sldMk cId="489060114" sldId="268"/>
        </pc:sldMkLst>
        <pc:spChg chg="add mod">
          <ac:chgData name="LAURIOZ Hubert" userId="042c0725-f647-406f-add6-64a715f31917" providerId="ADAL" clId="{F0C62922-55A7-407C-A165-2FC8EFF778AB}" dt="2022-02-24T12:03:16.085" v="1470" actId="1582"/>
          <ac:spMkLst>
            <pc:docMk/>
            <pc:sldMk cId="489060114" sldId="268"/>
            <ac:spMk id="6" creationId="{84FC3229-141E-498D-A527-2223553C236C}"/>
          </ac:spMkLst>
        </pc:spChg>
        <pc:spChg chg="add mod">
          <ac:chgData name="LAURIOZ Hubert" userId="042c0725-f647-406f-add6-64a715f31917" providerId="ADAL" clId="{F0C62922-55A7-407C-A165-2FC8EFF778AB}" dt="2022-02-24T12:06:41.304" v="1592" actId="688"/>
          <ac:spMkLst>
            <pc:docMk/>
            <pc:sldMk cId="489060114" sldId="268"/>
            <ac:spMk id="7" creationId="{BE2E7BB6-095A-490A-8861-38E09F62137C}"/>
          </ac:spMkLst>
        </pc:spChg>
        <pc:spChg chg="mod">
          <ac:chgData name="LAURIOZ Hubert" userId="042c0725-f647-406f-add6-64a715f31917" providerId="ADAL" clId="{F0C62922-55A7-407C-A165-2FC8EFF778AB}" dt="2022-02-24T12:01:24.063" v="1412" actId="1582"/>
          <ac:spMkLst>
            <pc:docMk/>
            <pc:sldMk cId="489060114" sldId="268"/>
            <ac:spMk id="10" creationId="{C4DDE340-3EA2-4F15-8505-9D599488C869}"/>
          </ac:spMkLst>
        </pc:spChg>
        <pc:spChg chg="mod">
          <ac:chgData name="LAURIOZ Hubert" userId="042c0725-f647-406f-add6-64a715f31917" providerId="ADAL" clId="{F0C62922-55A7-407C-A165-2FC8EFF778AB}" dt="2022-02-24T12:08:29.022" v="1622" actId="113"/>
          <ac:spMkLst>
            <pc:docMk/>
            <pc:sldMk cId="489060114" sldId="268"/>
            <ac:spMk id="11" creationId="{7D1A0AB4-B030-4B66-8859-B592DC4D173B}"/>
          </ac:spMkLst>
        </pc:spChg>
        <pc:spChg chg="mod">
          <ac:chgData name="LAURIOZ Hubert" userId="042c0725-f647-406f-add6-64a715f31917" providerId="ADAL" clId="{F0C62922-55A7-407C-A165-2FC8EFF778AB}" dt="2022-02-24T12:00:07.356" v="1404" actId="1036"/>
          <ac:spMkLst>
            <pc:docMk/>
            <pc:sldMk cId="489060114" sldId="268"/>
            <ac:spMk id="14" creationId="{242A9C8B-B905-4F77-9027-4DB1F0436373}"/>
          </ac:spMkLst>
        </pc:spChg>
        <pc:spChg chg="mod">
          <ac:chgData name="LAURIOZ Hubert" userId="042c0725-f647-406f-add6-64a715f31917" providerId="ADAL" clId="{F0C62922-55A7-407C-A165-2FC8EFF778AB}" dt="2022-02-24T12:00:07.356" v="1404" actId="1036"/>
          <ac:spMkLst>
            <pc:docMk/>
            <pc:sldMk cId="489060114" sldId="268"/>
            <ac:spMk id="20" creationId="{A321D76A-F6EA-4D2C-BA1D-2394EC7E8C48}"/>
          </ac:spMkLst>
        </pc:spChg>
        <pc:spChg chg="add mod ord">
          <ac:chgData name="LAURIOZ Hubert" userId="042c0725-f647-406f-add6-64a715f31917" providerId="ADAL" clId="{F0C62922-55A7-407C-A165-2FC8EFF778AB}" dt="2022-02-24T12:07:17.845" v="1607" actId="167"/>
          <ac:spMkLst>
            <pc:docMk/>
            <pc:sldMk cId="489060114" sldId="268"/>
            <ac:spMk id="32" creationId="{CDD6520C-8658-43AB-AD21-84B1B90B862B}"/>
          </ac:spMkLst>
        </pc:spChg>
        <pc:spChg chg="add mod">
          <ac:chgData name="LAURIOZ Hubert" userId="042c0725-f647-406f-add6-64a715f31917" providerId="ADAL" clId="{F0C62922-55A7-407C-A165-2FC8EFF778AB}" dt="2022-02-24T12:06:45.938" v="1593" actId="688"/>
          <ac:spMkLst>
            <pc:docMk/>
            <pc:sldMk cId="489060114" sldId="268"/>
            <ac:spMk id="34" creationId="{353CC33F-FC02-49B3-87B6-91A8D84A0AEE}"/>
          </ac:spMkLst>
        </pc:spChg>
        <pc:spChg chg="mod">
          <ac:chgData name="LAURIOZ Hubert" userId="042c0725-f647-406f-add6-64a715f31917" providerId="ADAL" clId="{F0C62922-55A7-407C-A165-2FC8EFF778AB}" dt="2022-02-23T14:18:23.120" v="643" actId="1035"/>
          <ac:spMkLst>
            <pc:docMk/>
            <pc:sldMk cId="489060114" sldId="268"/>
            <ac:spMk id="67" creationId="{F0309736-F313-415E-9579-FEE391D3C0CB}"/>
          </ac:spMkLst>
        </pc:spChg>
        <pc:spChg chg="mod">
          <ac:chgData name="LAURIOZ Hubert" userId="042c0725-f647-406f-add6-64a715f31917" providerId="ADAL" clId="{F0C62922-55A7-407C-A165-2FC8EFF778AB}" dt="2022-02-24T11:51:48.042" v="1131" actId="20577"/>
          <ac:spMkLst>
            <pc:docMk/>
            <pc:sldMk cId="489060114" sldId="268"/>
            <ac:spMk id="69" creationId="{D0FBB39D-13C6-4CF4-875F-7A3437CFA18B}"/>
          </ac:spMkLst>
        </pc:spChg>
        <pc:spChg chg="mod">
          <ac:chgData name="LAURIOZ Hubert" userId="042c0725-f647-406f-add6-64a715f31917" providerId="ADAL" clId="{F0C62922-55A7-407C-A165-2FC8EFF778AB}" dt="2022-02-24T11:58:37.740" v="1229" actId="947"/>
          <ac:spMkLst>
            <pc:docMk/>
            <pc:sldMk cId="489060114" sldId="268"/>
            <ac:spMk id="72" creationId="{489A8BEE-F00B-42F0-A290-F66F4F1CC7DF}"/>
          </ac:spMkLst>
        </pc:spChg>
        <pc:spChg chg="mod">
          <ac:chgData name="LAURIOZ Hubert" userId="042c0725-f647-406f-add6-64a715f31917" providerId="ADAL" clId="{F0C62922-55A7-407C-A165-2FC8EFF778AB}" dt="2022-02-24T11:52:04.630" v="1134" actId="20577"/>
          <ac:spMkLst>
            <pc:docMk/>
            <pc:sldMk cId="489060114" sldId="268"/>
            <ac:spMk id="75" creationId="{0BAD3D4F-95F1-4E7E-862A-E1F1D01FBFC7}"/>
          </ac:spMkLst>
        </pc:spChg>
        <pc:spChg chg="mod">
          <ac:chgData name="LAURIOZ Hubert" userId="042c0725-f647-406f-add6-64a715f31917" providerId="ADAL" clId="{F0C62922-55A7-407C-A165-2FC8EFF778AB}" dt="2022-02-24T12:01:24.063" v="1412" actId="1582"/>
          <ac:spMkLst>
            <pc:docMk/>
            <pc:sldMk cId="489060114" sldId="268"/>
            <ac:spMk id="77" creationId="{3E9EACD0-402B-485F-B2FA-E443135791CA}"/>
          </ac:spMkLst>
        </pc:spChg>
        <pc:spChg chg="mod">
          <ac:chgData name="LAURIOZ Hubert" userId="042c0725-f647-406f-add6-64a715f31917" providerId="ADAL" clId="{F0C62922-55A7-407C-A165-2FC8EFF778AB}" dt="2022-02-24T12:08:37.153" v="1623" actId="108"/>
          <ac:spMkLst>
            <pc:docMk/>
            <pc:sldMk cId="489060114" sldId="268"/>
            <ac:spMk id="79" creationId="{294EB602-391A-4C13-8623-548F93C23D9F}"/>
          </ac:spMkLst>
        </pc:spChg>
        <pc:spChg chg="mod">
          <ac:chgData name="LAURIOZ Hubert" userId="042c0725-f647-406f-add6-64a715f31917" providerId="ADAL" clId="{F0C62922-55A7-407C-A165-2FC8EFF778AB}" dt="2022-02-24T12:06:02.065" v="1578" actId="1076"/>
          <ac:spMkLst>
            <pc:docMk/>
            <pc:sldMk cId="489060114" sldId="268"/>
            <ac:spMk id="81" creationId="{CC842A0A-F361-4CED-9A58-583F1F969DA6}"/>
          </ac:spMkLst>
        </pc:spChg>
        <pc:spChg chg="mod">
          <ac:chgData name="LAURIOZ Hubert" userId="042c0725-f647-406f-add6-64a715f31917" providerId="ADAL" clId="{F0C62922-55A7-407C-A165-2FC8EFF778AB}" dt="2022-02-24T12:04:55.257" v="1557" actId="1076"/>
          <ac:spMkLst>
            <pc:docMk/>
            <pc:sldMk cId="489060114" sldId="268"/>
            <ac:spMk id="82" creationId="{3021562E-D850-4FF0-BC74-CD8A8CDFB2D6}"/>
          </ac:spMkLst>
        </pc:spChg>
        <pc:spChg chg="mod">
          <ac:chgData name="LAURIOZ Hubert" userId="042c0725-f647-406f-add6-64a715f31917" providerId="ADAL" clId="{F0C62922-55A7-407C-A165-2FC8EFF778AB}" dt="2022-02-24T12:20:35.964" v="1708" actId="20577"/>
          <ac:spMkLst>
            <pc:docMk/>
            <pc:sldMk cId="489060114" sldId="268"/>
            <ac:spMk id="83" creationId="{DDEA70D2-1EB3-4217-9C77-FF0D3CCB56E1}"/>
          </ac:spMkLst>
        </pc:spChg>
        <pc:spChg chg="mod">
          <ac:chgData name="LAURIOZ Hubert" userId="042c0725-f647-406f-add6-64a715f31917" providerId="ADAL" clId="{F0C62922-55A7-407C-A165-2FC8EFF778AB}" dt="2022-02-23T14:18:23.120" v="643" actId="1035"/>
          <ac:spMkLst>
            <pc:docMk/>
            <pc:sldMk cId="489060114" sldId="268"/>
            <ac:spMk id="86" creationId="{CCEF11EF-F9A2-47DC-BDA9-5027F5EBFCB2}"/>
          </ac:spMkLst>
        </pc:spChg>
        <pc:spChg chg="mod">
          <ac:chgData name="LAURIOZ Hubert" userId="042c0725-f647-406f-add6-64a715f31917" providerId="ADAL" clId="{F0C62922-55A7-407C-A165-2FC8EFF778AB}" dt="2022-02-23T14:18:23.120" v="643" actId="1035"/>
          <ac:spMkLst>
            <pc:docMk/>
            <pc:sldMk cId="489060114" sldId="268"/>
            <ac:spMk id="87" creationId="{D2665F66-DE0E-44D3-9171-BA19D92C6250}"/>
          </ac:spMkLst>
        </pc:spChg>
        <pc:spChg chg="mod">
          <ac:chgData name="LAURIOZ Hubert" userId="042c0725-f647-406f-add6-64a715f31917" providerId="ADAL" clId="{F0C62922-55A7-407C-A165-2FC8EFF778AB}" dt="2022-02-24T11:58:49.385" v="1239" actId="1035"/>
          <ac:spMkLst>
            <pc:docMk/>
            <pc:sldMk cId="489060114" sldId="268"/>
            <ac:spMk id="88" creationId="{B3A177A3-7111-4ACE-863F-7FBB6FD6FC81}"/>
          </ac:spMkLst>
        </pc:spChg>
        <pc:grpChg chg="add mod">
          <ac:chgData name="LAURIOZ Hubert" userId="042c0725-f647-406f-add6-64a715f31917" providerId="ADAL" clId="{F0C62922-55A7-407C-A165-2FC8EFF778AB}" dt="2022-02-24T12:02:25.122" v="1452" actId="1038"/>
          <ac:grpSpMkLst>
            <pc:docMk/>
            <pc:sldMk cId="489060114" sldId="268"/>
            <ac:grpSpMk id="3" creationId="{76BED6E3-D4D8-4F04-8B63-2DA7CB16896B}"/>
          </ac:grpSpMkLst>
        </pc:grpChg>
        <pc:grpChg chg="add mod">
          <ac:chgData name="LAURIOZ Hubert" userId="042c0725-f647-406f-add6-64a715f31917" providerId="ADAL" clId="{F0C62922-55A7-407C-A165-2FC8EFF778AB}" dt="2022-02-24T11:06:30.873" v="730" actId="1036"/>
          <ac:grpSpMkLst>
            <pc:docMk/>
            <pc:sldMk cId="489060114" sldId="268"/>
            <ac:grpSpMk id="4" creationId="{8A973AC8-D225-4CF2-987A-2CB5228E2335}"/>
          </ac:grpSpMkLst>
        </pc:grpChg>
        <pc:picChg chg="mod ord modCrop">
          <ac:chgData name="LAURIOZ Hubert" userId="042c0725-f647-406f-add6-64a715f31917" providerId="ADAL" clId="{F0C62922-55A7-407C-A165-2FC8EFF778AB}" dt="2022-02-24T12:07:52.161" v="1619" actId="732"/>
          <ac:picMkLst>
            <pc:docMk/>
            <pc:sldMk cId="489060114" sldId="268"/>
            <ac:picMk id="2" creationId="{23FBC170-5E90-4E00-A5B1-C48DA75FAC5F}"/>
          </ac:picMkLst>
        </pc:picChg>
        <pc:picChg chg="mod">
          <ac:chgData name="LAURIOZ Hubert" userId="042c0725-f647-406f-add6-64a715f31917" providerId="ADAL" clId="{F0C62922-55A7-407C-A165-2FC8EFF778AB}" dt="2022-02-24T12:01:24.063" v="1412" actId="1582"/>
          <ac:picMkLst>
            <pc:docMk/>
            <pc:sldMk cId="489060114" sldId="268"/>
            <ac:picMk id="5" creationId="{1B7664F9-D128-4E63-82A0-80CD9F60B8D4}"/>
          </ac:picMkLst>
        </pc:picChg>
        <pc:picChg chg="mod">
          <ac:chgData name="LAURIOZ Hubert" userId="042c0725-f647-406f-add6-64a715f31917" providerId="ADAL" clId="{F0C62922-55A7-407C-A165-2FC8EFF778AB}" dt="2022-02-24T12:01:24.063" v="1412" actId="1582"/>
          <ac:picMkLst>
            <pc:docMk/>
            <pc:sldMk cId="489060114" sldId="268"/>
            <ac:picMk id="8" creationId="{C26E2BEF-5549-4BF2-824F-AFA60592DD9E}"/>
          </ac:picMkLst>
        </pc:picChg>
        <pc:picChg chg="add mod">
          <ac:chgData name="LAURIOZ Hubert" userId="042c0725-f647-406f-add6-64a715f31917" providerId="ADAL" clId="{F0C62922-55A7-407C-A165-2FC8EFF778AB}" dt="2022-02-24T12:16:46.248" v="1702" actId="14100"/>
          <ac:picMkLst>
            <pc:docMk/>
            <pc:sldMk cId="489060114" sldId="268"/>
            <ac:picMk id="12" creationId="{189BD52C-8E7B-4EC4-BAAB-5FFBA04BE4D8}"/>
          </ac:picMkLst>
        </pc:picChg>
        <pc:picChg chg="mod">
          <ac:chgData name="LAURIOZ Hubert" userId="042c0725-f647-406f-add6-64a715f31917" providerId="ADAL" clId="{F0C62922-55A7-407C-A165-2FC8EFF778AB}" dt="2022-02-23T14:18:23.120" v="643" actId="1035"/>
          <ac:picMkLst>
            <pc:docMk/>
            <pc:sldMk cId="489060114" sldId="268"/>
            <ac:picMk id="68" creationId="{70D1C19D-0C74-473F-9975-2E7422D7FC67}"/>
          </ac:picMkLst>
        </pc:picChg>
        <pc:picChg chg="mod">
          <ac:chgData name="LAURIOZ Hubert" userId="042c0725-f647-406f-add6-64a715f31917" providerId="ADAL" clId="{F0C62922-55A7-407C-A165-2FC8EFF778AB}" dt="2022-02-23T14:19:06.630" v="659" actId="1076"/>
          <ac:picMkLst>
            <pc:docMk/>
            <pc:sldMk cId="489060114" sldId="268"/>
            <ac:picMk id="70" creationId="{D585B693-7D0F-41B8-BCC6-86B9C597FBA5}"/>
          </ac:picMkLst>
        </pc:picChg>
        <pc:picChg chg="mod">
          <ac:chgData name="LAURIOZ Hubert" userId="042c0725-f647-406f-add6-64a715f31917" providerId="ADAL" clId="{F0C62922-55A7-407C-A165-2FC8EFF778AB}" dt="2022-02-24T12:01:24.063" v="1412" actId="1582"/>
          <ac:picMkLst>
            <pc:docMk/>
            <pc:sldMk cId="489060114" sldId="268"/>
            <ac:picMk id="76" creationId="{3DF1030F-32B7-4EA0-B17C-65B56EF33B6B}"/>
          </ac:picMkLst>
        </pc:picChg>
        <pc:picChg chg="mod">
          <ac:chgData name="LAURIOZ Hubert" userId="042c0725-f647-406f-add6-64a715f31917" providerId="ADAL" clId="{F0C62922-55A7-407C-A165-2FC8EFF778AB}" dt="2022-02-24T12:06:54.597" v="1599" actId="1038"/>
          <ac:picMkLst>
            <pc:docMk/>
            <pc:sldMk cId="489060114" sldId="268"/>
            <ac:picMk id="78" creationId="{233F3EDE-0347-45E6-B171-919CD23D3624}"/>
          </ac:picMkLst>
        </pc:picChg>
        <pc:picChg chg="mod">
          <ac:chgData name="LAURIOZ Hubert" userId="042c0725-f647-406f-add6-64a715f31917" providerId="ADAL" clId="{F0C62922-55A7-407C-A165-2FC8EFF778AB}" dt="2022-02-24T12:06:57.391" v="1604" actId="1037"/>
          <ac:picMkLst>
            <pc:docMk/>
            <pc:sldMk cId="489060114" sldId="268"/>
            <ac:picMk id="80" creationId="{C2A0A64E-4FEC-4071-A880-72F6CB531C40}"/>
          </ac:picMkLst>
        </pc:picChg>
        <pc:picChg chg="mod">
          <ac:chgData name="LAURIOZ Hubert" userId="042c0725-f647-406f-add6-64a715f31917" providerId="ADAL" clId="{F0C62922-55A7-407C-A165-2FC8EFF778AB}" dt="2022-02-24T11:57:30.172" v="1222" actId="1035"/>
          <ac:picMkLst>
            <pc:docMk/>
            <pc:sldMk cId="489060114" sldId="268"/>
            <ac:picMk id="90" creationId="{9302E3F4-1753-4084-B37F-6D09C0114429}"/>
          </ac:picMkLst>
        </pc:picChg>
        <pc:picChg chg="del mod">
          <ac:chgData name="LAURIOZ Hubert" userId="042c0725-f647-406f-add6-64a715f31917" providerId="ADAL" clId="{F0C62922-55A7-407C-A165-2FC8EFF778AB}" dt="2022-02-24T11:57:14.982" v="1191" actId="478"/>
          <ac:picMkLst>
            <pc:docMk/>
            <pc:sldMk cId="489060114" sldId="268"/>
            <ac:picMk id="92" creationId="{8FB1543C-D2B5-414B-A35C-1416ACC75464}"/>
          </ac:picMkLst>
        </pc:picChg>
      </pc:sldChg>
      <pc:sldChg chg="addSp modSp mod">
        <pc:chgData name="LAURIOZ Hubert" userId="042c0725-f647-406f-add6-64a715f31917" providerId="ADAL" clId="{F0C62922-55A7-407C-A165-2FC8EFF778AB}" dt="2022-02-24T12:12:26.737" v="1699" actId="1076"/>
        <pc:sldMkLst>
          <pc:docMk/>
          <pc:sldMk cId="2359043163" sldId="275"/>
        </pc:sldMkLst>
        <pc:spChg chg="mod">
          <ac:chgData name="LAURIOZ Hubert" userId="042c0725-f647-406f-add6-64a715f31917" providerId="ADAL" clId="{F0C62922-55A7-407C-A165-2FC8EFF778AB}" dt="2022-02-24T12:10:22.421" v="1649" actId="1035"/>
          <ac:spMkLst>
            <pc:docMk/>
            <pc:sldMk cId="2359043163" sldId="275"/>
            <ac:spMk id="24" creationId="{40643471-47BE-4832-87E3-C4F5AA59F8B8}"/>
          </ac:spMkLst>
        </pc:spChg>
        <pc:spChg chg="mod">
          <ac:chgData name="LAURIOZ Hubert" userId="042c0725-f647-406f-add6-64a715f31917" providerId="ADAL" clId="{F0C62922-55A7-407C-A165-2FC8EFF778AB}" dt="2022-02-24T11:53:46.373" v="1150" actId="14100"/>
          <ac:spMkLst>
            <pc:docMk/>
            <pc:sldMk cId="2359043163" sldId="275"/>
            <ac:spMk id="25" creationId="{CED925F7-F52A-42F5-94E4-90077A86E959}"/>
          </ac:spMkLst>
        </pc:spChg>
        <pc:spChg chg="mod">
          <ac:chgData name="LAURIOZ Hubert" userId="042c0725-f647-406f-add6-64a715f31917" providerId="ADAL" clId="{F0C62922-55A7-407C-A165-2FC8EFF778AB}" dt="2022-02-24T12:11:42.140" v="1650" actId="207"/>
          <ac:spMkLst>
            <pc:docMk/>
            <pc:sldMk cId="2359043163" sldId="275"/>
            <ac:spMk id="26" creationId="{54187E2B-BF27-474D-B75F-019836CC8F44}"/>
          </ac:spMkLst>
        </pc:spChg>
        <pc:spChg chg="mod">
          <ac:chgData name="LAURIOZ Hubert" userId="042c0725-f647-406f-add6-64a715f31917" providerId="ADAL" clId="{F0C62922-55A7-407C-A165-2FC8EFF778AB}" dt="2022-02-24T12:10:22.421" v="1649" actId="1035"/>
          <ac:spMkLst>
            <pc:docMk/>
            <pc:sldMk cId="2359043163" sldId="275"/>
            <ac:spMk id="29" creationId="{8F11E284-D46F-4F5D-8A40-76DF1820D6A9}"/>
          </ac:spMkLst>
        </pc:spChg>
        <pc:spChg chg="mod">
          <ac:chgData name="LAURIOZ Hubert" userId="042c0725-f647-406f-add6-64a715f31917" providerId="ADAL" clId="{F0C62922-55A7-407C-A165-2FC8EFF778AB}" dt="2022-02-24T12:10:22.421" v="1649" actId="1035"/>
          <ac:spMkLst>
            <pc:docMk/>
            <pc:sldMk cId="2359043163" sldId="275"/>
            <ac:spMk id="30" creationId="{FF34CE08-30C9-4696-80A1-E9A0C4A05FA0}"/>
          </ac:spMkLst>
        </pc:spChg>
        <pc:spChg chg="mod">
          <ac:chgData name="LAURIOZ Hubert" userId="042c0725-f647-406f-add6-64a715f31917" providerId="ADAL" clId="{F0C62922-55A7-407C-A165-2FC8EFF778AB}" dt="2022-02-24T12:10:22.421" v="1649" actId="1035"/>
          <ac:spMkLst>
            <pc:docMk/>
            <pc:sldMk cId="2359043163" sldId="275"/>
            <ac:spMk id="31" creationId="{1E90E83B-5821-4293-98E9-6F3AEE413808}"/>
          </ac:spMkLst>
        </pc:spChg>
        <pc:spChg chg="mod">
          <ac:chgData name="LAURIOZ Hubert" userId="042c0725-f647-406f-add6-64a715f31917" providerId="ADAL" clId="{F0C62922-55A7-407C-A165-2FC8EFF778AB}" dt="2022-02-24T12:10:22.421" v="1649" actId="1035"/>
          <ac:spMkLst>
            <pc:docMk/>
            <pc:sldMk cId="2359043163" sldId="275"/>
            <ac:spMk id="32" creationId="{7095CA87-7742-4656-B553-52266E4C647F}"/>
          </ac:spMkLst>
        </pc:spChg>
        <pc:spChg chg="mod">
          <ac:chgData name="LAURIOZ Hubert" userId="042c0725-f647-406f-add6-64a715f31917" providerId="ADAL" clId="{F0C62922-55A7-407C-A165-2FC8EFF778AB}" dt="2022-02-24T12:10:22.421" v="1649" actId="1035"/>
          <ac:spMkLst>
            <pc:docMk/>
            <pc:sldMk cId="2359043163" sldId="275"/>
            <ac:spMk id="33" creationId="{67A817BF-3807-4EA2-9AE5-2D567E8CFEA8}"/>
          </ac:spMkLst>
        </pc:spChg>
        <pc:spChg chg="mod">
          <ac:chgData name="LAURIOZ Hubert" userId="042c0725-f647-406f-add6-64a715f31917" providerId="ADAL" clId="{F0C62922-55A7-407C-A165-2FC8EFF778AB}" dt="2022-02-24T11:55:15.386" v="1172" actId="1036"/>
          <ac:spMkLst>
            <pc:docMk/>
            <pc:sldMk cId="2359043163" sldId="275"/>
            <ac:spMk id="36" creationId="{C3E3DFC9-C19A-43A9-9C22-F47D256B92F5}"/>
          </ac:spMkLst>
        </pc:spChg>
        <pc:spChg chg="mod">
          <ac:chgData name="LAURIOZ Hubert" userId="042c0725-f647-406f-add6-64a715f31917" providerId="ADAL" clId="{F0C62922-55A7-407C-A165-2FC8EFF778AB}" dt="2022-02-24T12:12:26.737" v="1699" actId="1076"/>
          <ac:spMkLst>
            <pc:docMk/>
            <pc:sldMk cId="2359043163" sldId="275"/>
            <ac:spMk id="39" creationId="{80643473-3EE3-4CA2-8CCA-3EB7626C95EB}"/>
          </ac:spMkLst>
        </pc:spChg>
        <pc:spChg chg="mod">
          <ac:chgData name="LAURIOZ Hubert" userId="042c0725-f647-406f-add6-64a715f31917" providerId="ADAL" clId="{F0C62922-55A7-407C-A165-2FC8EFF778AB}" dt="2022-02-24T12:10:00.817" v="1634" actId="14100"/>
          <ac:spMkLst>
            <pc:docMk/>
            <pc:sldMk cId="2359043163" sldId="275"/>
            <ac:spMk id="40" creationId="{CCA8860A-4880-4BAC-BBFC-7296F53DFDBB}"/>
          </ac:spMkLst>
        </pc:spChg>
        <pc:spChg chg="mod">
          <ac:chgData name="LAURIOZ Hubert" userId="042c0725-f647-406f-add6-64a715f31917" providerId="ADAL" clId="{F0C62922-55A7-407C-A165-2FC8EFF778AB}" dt="2022-02-24T11:55:27.294" v="1178" actId="1036"/>
          <ac:spMkLst>
            <pc:docMk/>
            <pc:sldMk cId="2359043163" sldId="275"/>
            <ac:spMk id="41" creationId="{4A5D430C-F133-4EB6-9964-3D05073AF6A5}"/>
          </ac:spMkLst>
        </pc:spChg>
        <pc:spChg chg="mod">
          <ac:chgData name="LAURIOZ Hubert" userId="042c0725-f647-406f-add6-64a715f31917" providerId="ADAL" clId="{F0C62922-55A7-407C-A165-2FC8EFF778AB}" dt="2022-02-24T12:10:03.768" v="1635" actId="14100"/>
          <ac:spMkLst>
            <pc:docMk/>
            <pc:sldMk cId="2359043163" sldId="275"/>
            <ac:spMk id="43" creationId="{2EFFF231-9757-40D1-9CDD-D8A613EC753D}"/>
          </ac:spMkLst>
        </pc:spChg>
        <pc:spChg chg="mod">
          <ac:chgData name="LAURIOZ Hubert" userId="042c0725-f647-406f-add6-64a715f31917" providerId="ADAL" clId="{F0C62922-55A7-407C-A165-2FC8EFF778AB}" dt="2022-02-24T12:10:11.321" v="1646" actId="1036"/>
          <ac:spMkLst>
            <pc:docMk/>
            <pc:sldMk cId="2359043163" sldId="275"/>
            <ac:spMk id="44" creationId="{7AA184DC-254F-4416-8346-E5FCF602478F}"/>
          </ac:spMkLst>
        </pc:spChg>
        <pc:grpChg chg="add mod">
          <ac:chgData name="LAURIOZ Hubert" userId="042c0725-f647-406f-add6-64a715f31917" providerId="ADAL" clId="{F0C62922-55A7-407C-A165-2FC8EFF778AB}" dt="2022-02-24T11:55:15.386" v="1172" actId="1036"/>
          <ac:grpSpMkLst>
            <pc:docMk/>
            <pc:sldMk cId="2359043163" sldId="275"/>
            <ac:grpSpMk id="2" creationId="{FC40892C-04A9-49A2-933C-7EB2C89FF3E2}"/>
          </ac:grpSpMkLst>
        </pc:grpChg>
        <pc:picChg chg="mod">
          <ac:chgData name="LAURIOZ Hubert" userId="042c0725-f647-406f-add6-64a715f31917" providerId="ADAL" clId="{F0C62922-55A7-407C-A165-2FC8EFF778AB}" dt="2022-02-24T12:10:22.421" v="1649" actId="1035"/>
          <ac:picMkLst>
            <pc:docMk/>
            <pc:sldMk cId="2359043163" sldId="275"/>
            <ac:picMk id="4" creationId="{2A98B504-1867-4451-B211-5820DFC077F2}"/>
          </ac:picMkLst>
        </pc:picChg>
        <pc:picChg chg="mod">
          <ac:chgData name="LAURIOZ Hubert" userId="042c0725-f647-406f-add6-64a715f31917" providerId="ADAL" clId="{F0C62922-55A7-407C-A165-2FC8EFF778AB}" dt="2022-02-24T11:54:54.042" v="1157" actId="164"/>
          <ac:picMkLst>
            <pc:docMk/>
            <pc:sldMk cId="2359043163" sldId="275"/>
            <ac:picMk id="7" creationId="{B5BFCD42-10DF-433F-8250-67370F81A8A1}"/>
          </ac:picMkLst>
        </pc:picChg>
        <pc:picChg chg="mod">
          <ac:chgData name="LAURIOZ Hubert" userId="042c0725-f647-406f-add6-64a715f31917" providerId="ADAL" clId="{F0C62922-55A7-407C-A165-2FC8EFF778AB}" dt="2022-02-24T11:53:37.553" v="1148" actId="14100"/>
          <ac:picMkLst>
            <pc:docMk/>
            <pc:sldMk cId="2359043163" sldId="275"/>
            <ac:picMk id="23" creationId="{C516B938-529B-4E2F-BF82-11E16671F925}"/>
          </ac:picMkLst>
        </pc:picChg>
        <pc:picChg chg="mod">
          <ac:chgData name="LAURIOZ Hubert" userId="042c0725-f647-406f-add6-64a715f31917" providerId="ADAL" clId="{F0C62922-55A7-407C-A165-2FC8EFF778AB}" dt="2022-02-24T12:10:22.421" v="1649" actId="1035"/>
          <ac:picMkLst>
            <pc:docMk/>
            <pc:sldMk cId="2359043163" sldId="275"/>
            <ac:picMk id="28" creationId="{8295784C-356E-469F-BC20-AC2C1BEFCE6D}"/>
          </ac:picMkLst>
        </pc:picChg>
        <pc:picChg chg="mod">
          <ac:chgData name="LAURIOZ Hubert" userId="042c0725-f647-406f-add6-64a715f31917" providerId="ADAL" clId="{F0C62922-55A7-407C-A165-2FC8EFF778AB}" dt="2022-02-24T12:10:22.421" v="1649" actId="1035"/>
          <ac:picMkLst>
            <pc:docMk/>
            <pc:sldMk cId="2359043163" sldId="275"/>
            <ac:picMk id="34" creationId="{AF8947C3-ECCF-4BBE-BF0C-A14B3BC97C22}"/>
          </ac:picMkLst>
        </pc:picChg>
        <pc:picChg chg="mod">
          <ac:chgData name="LAURIOZ Hubert" userId="042c0725-f647-406f-add6-64a715f31917" providerId="ADAL" clId="{F0C62922-55A7-407C-A165-2FC8EFF778AB}" dt="2022-02-24T12:10:22.421" v="1649" actId="1035"/>
          <ac:picMkLst>
            <pc:docMk/>
            <pc:sldMk cId="2359043163" sldId="275"/>
            <ac:picMk id="35" creationId="{B5997196-E715-4715-858F-9C044AF072B7}"/>
          </ac:picMkLst>
        </pc:picChg>
        <pc:picChg chg="mod">
          <ac:chgData name="LAURIOZ Hubert" userId="042c0725-f647-406f-add6-64a715f31917" providerId="ADAL" clId="{F0C62922-55A7-407C-A165-2FC8EFF778AB}" dt="2022-02-24T11:55:27.294" v="1178" actId="1036"/>
          <ac:picMkLst>
            <pc:docMk/>
            <pc:sldMk cId="2359043163" sldId="275"/>
            <ac:picMk id="37" creationId="{B0FB7EFA-4471-4411-9293-B4D831E56B45}"/>
          </ac:picMkLst>
        </pc:picChg>
        <pc:picChg chg="mod">
          <ac:chgData name="LAURIOZ Hubert" userId="042c0725-f647-406f-add6-64a715f31917" providerId="ADAL" clId="{F0C62922-55A7-407C-A165-2FC8EFF778AB}" dt="2022-02-24T12:10:22.421" v="1649" actId="1035"/>
          <ac:picMkLst>
            <pc:docMk/>
            <pc:sldMk cId="2359043163" sldId="275"/>
            <ac:picMk id="38" creationId="{425FBE97-C24C-4633-8BD3-4C8E3571B235}"/>
          </ac:picMkLst>
        </pc:picChg>
        <pc:picChg chg="mod">
          <ac:chgData name="LAURIOZ Hubert" userId="042c0725-f647-406f-add6-64a715f31917" providerId="ADAL" clId="{F0C62922-55A7-407C-A165-2FC8EFF778AB}" dt="2022-02-24T11:55:27.294" v="1178" actId="1036"/>
          <ac:picMkLst>
            <pc:docMk/>
            <pc:sldMk cId="2359043163" sldId="275"/>
            <ac:picMk id="42" creationId="{903B0639-60EB-4684-B45C-3CD4952B7F32}"/>
          </ac:picMkLst>
        </pc:picChg>
        <pc:picChg chg="add mod">
          <ac:chgData name="LAURIOZ Hubert" userId="042c0725-f647-406f-add6-64a715f31917" providerId="ADAL" clId="{F0C62922-55A7-407C-A165-2FC8EFF778AB}" dt="2022-02-24T11:54:54.042" v="1157" actId="164"/>
          <ac:picMkLst>
            <pc:docMk/>
            <pc:sldMk cId="2359043163" sldId="275"/>
            <ac:picMk id="45" creationId="{9C624312-0C2E-4C5B-940B-346D6B3193A4}"/>
          </ac:picMkLst>
        </pc:picChg>
      </pc:sldChg>
      <pc:sldChg chg="modSp mod">
        <pc:chgData name="LAURIOZ Hubert" userId="042c0725-f647-406f-add6-64a715f31917" providerId="ADAL" clId="{F0C62922-55A7-407C-A165-2FC8EFF778AB}" dt="2022-02-24T11:50:56.532" v="1127" actId="1076"/>
        <pc:sldMkLst>
          <pc:docMk/>
          <pc:sldMk cId="1476074115" sldId="277"/>
        </pc:sldMkLst>
        <pc:spChg chg="mod">
          <ac:chgData name="LAURIOZ Hubert" userId="042c0725-f647-406f-add6-64a715f31917" providerId="ADAL" clId="{F0C62922-55A7-407C-A165-2FC8EFF778AB}" dt="2022-02-24T11:50:18.166" v="1119" actId="1035"/>
          <ac:spMkLst>
            <pc:docMk/>
            <pc:sldMk cId="1476074115" sldId="277"/>
            <ac:spMk id="12" creationId="{9CF97F6C-8097-4257-B565-17B87CE122D8}"/>
          </ac:spMkLst>
        </pc:spChg>
        <pc:spChg chg="mod">
          <ac:chgData name="LAURIOZ Hubert" userId="042c0725-f647-406f-add6-64a715f31917" providerId="ADAL" clId="{F0C62922-55A7-407C-A165-2FC8EFF778AB}" dt="2022-02-24T11:30:03.575" v="905" actId="14100"/>
          <ac:spMkLst>
            <pc:docMk/>
            <pc:sldMk cId="1476074115" sldId="277"/>
            <ac:spMk id="19" creationId="{A42E2475-3DFF-4A21-82C8-AAC8B374FAA2}"/>
          </ac:spMkLst>
        </pc:spChg>
        <pc:spChg chg="mod">
          <ac:chgData name="LAURIOZ Hubert" userId="042c0725-f647-406f-add6-64a715f31917" providerId="ADAL" clId="{F0C62922-55A7-407C-A165-2FC8EFF778AB}" dt="2022-02-24T11:50:23.232" v="1121" actId="1035"/>
          <ac:spMkLst>
            <pc:docMk/>
            <pc:sldMk cId="1476074115" sldId="277"/>
            <ac:spMk id="20" creationId="{284448F8-4BD4-4E05-920E-DFEB2B527541}"/>
          </ac:spMkLst>
        </pc:spChg>
        <pc:spChg chg="mod">
          <ac:chgData name="LAURIOZ Hubert" userId="042c0725-f647-406f-add6-64a715f31917" providerId="ADAL" clId="{F0C62922-55A7-407C-A165-2FC8EFF778AB}" dt="2022-02-24T11:50:27.924" v="1123" actId="1035"/>
          <ac:spMkLst>
            <pc:docMk/>
            <pc:sldMk cId="1476074115" sldId="277"/>
            <ac:spMk id="21" creationId="{9B7193B3-1266-43CF-B0E8-EFA948A66036}"/>
          </ac:spMkLst>
        </pc:spChg>
        <pc:spChg chg="mod">
          <ac:chgData name="LAURIOZ Hubert" userId="042c0725-f647-406f-add6-64a715f31917" providerId="ADAL" clId="{F0C62922-55A7-407C-A165-2FC8EFF778AB}" dt="2022-02-24T11:50:18.166" v="1119" actId="1035"/>
          <ac:spMkLst>
            <pc:docMk/>
            <pc:sldMk cId="1476074115" sldId="277"/>
            <ac:spMk id="23" creationId="{74CB6974-CA29-4141-80AB-0BBD4C1A6B82}"/>
          </ac:spMkLst>
        </pc:spChg>
        <pc:spChg chg="mod">
          <ac:chgData name="LAURIOZ Hubert" userId="042c0725-f647-406f-add6-64a715f31917" providerId="ADAL" clId="{F0C62922-55A7-407C-A165-2FC8EFF778AB}" dt="2022-02-24T11:26:04.794" v="875" actId="14100"/>
          <ac:spMkLst>
            <pc:docMk/>
            <pc:sldMk cId="1476074115" sldId="277"/>
            <ac:spMk id="27" creationId="{CC1FDFB4-E8C1-4D0E-A973-1EFFF4D9DD29}"/>
          </ac:spMkLst>
        </pc:spChg>
        <pc:spChg chg="mod">
          <ac:chgData name="LAURIOZ Hubert" userId="042c0725-f647-406f-add6-64a715f31917" providerId="ADAL" clId="{F0C62922-55A7-407C-A165-2FC8EFF778AB}" dt="2022-02-24T11:50:23.232" v="1121" actId="1035"/>
          <ac:spMkLst>
            <pc:docMk/>
            <pc:sldMk cId="1476074115" sldId="277"/>
            <ac:spMk id="30" creationId="{EB8CCCE9-B9E6-4A64-A0DC-BBAFC3AE327A}"/>
          </ac:spMkLst>
        </pc:spChg>
        <pc:spChg chg="mod">
          <ac:chgData name="LAURIOZ Hubert" userId="042c0725-f647-406f-add6-64a715f31917" providerId="ADAL" clId="{F0C62922-55A7-407C-A165-2FC8EFF778AB}" dt="2022-02-24T11:50:18.166" v="1119" actId="1035"/>
          <ac:spMkLst>
            <pc:docMk/>
            <pc:sldMk cId="1476074115" sldId="277"/>
            <ac:spMk id="31" creationId="{E2389E06-C745-4B69-9DF3-4C0214E358B7}"/>
          </ac:spMkLst>
        </pc:spChg>
        <pc:spChg chg="mod">
          <ac:chgData name="LAURIOZ Hubert" userId="042c0725-f647-406f-add6-64a715f31917" providerId="ADAL" clId="{F0C62922-55A7-407C-A165-2FC8EFF778AB}" dt="2022-02-24T11:50:27.924" v="1123" actId="1035"/>
          <ac:spMkLst>
            <pc:docMk/>
            <pc:sldMk cId="1476074115" sldId="277"/>
            <ac:spMk id="33" creationId="{8E714608-1501-4542-9180-64C12E5D9A18}"/>
          </ac:spMkLst>
        </pc:spChg>
        <pc:spChg chg="mod">
          <ac:chgData name="LAURIOZ Hubert" userId="042c0725-f647-406f-add6-64a715f31917" providerId="ADAL" clId="{F0C62922-55A7-407C-A165-2FC8EFF778AB}" dt="2022-02-24T11:50:31.854" v="1125" actId="1035"/>
          <ac:spMkLst>
            <pc:docMk/>
            <pc:sldMk cId="1476074115" sldId="277"/>
            <ac:spMk id="34" creationId="{76F101FC-112B-4E1B-9FA5-AB16AE08ECD7}"/>
          </ac:spMkLst>
        </pc:spChg>
        <pc:spChg chg="mod">
          <ac:chgData name="LAURIOZ Hubert" userId="042c0725-f647-406f-add6-64a715f31917" providerId="ADAL" clId="{F0C62922-55A7-407C-A165-2FC8EFF778AB}" dt="2022-02-24T11:46:33.265" v="928" actId="552"/>
          <ac:spMkLst>
            <pc:docMk/>
            <pc:sldMk cId="1476074115" sldId="277"/>
            <ac:spMk id="35" creationId="{A67FF991-B37A-4259-9A4F-D085AA20D17F}"/>
          </ac:spMkLst>
        </pc:spChg>
        <pc:spChg chg="mod">
          <ac:chgData name="LAURIOZ Hubert" userId="042c0725-f647-406f-add6-64a715f31917" providerId="ADAL" clId="{F0C62922-55A7-407C-A165-2FC8EFF778AB}" dt="2022-02-24T11:50:18.166" v="1119" actId="1035"/>
          <ac:spMkLst>
            <pc:docMk/>
            <pc:sldMk cId="1476074115" sldId="277"/>
            <ac:spMk id="36" creationId="{72BBCA43-3DB0-4FC0-A72C-52F23A6068EC}"/>
          </ac:spMkLst>
        </pc:spChg>
        <pc:spChg chg="mod">
          <ac:chgData name="LAURIOZ Hubert" userId="042c0725-f647-406f-add6-64a715f31917" providerId="ADAL" clId="{F0C62922-55A7-407C-A165-2FC8EFF778AB}" dt="2022-02-24T11:50:27.924" v="1123" actId="1035"/>
          <ac:spMkLst>
            <pc:docMk/>
            <pc:sldMk cId="1476074115" sldId="277"/>
            <ac:spMk id="41" creationId="{5364CC7F-ECBA-46DE-B32D-F7A87F6E45E1}"/>
          </ac:spMkLst>
        </pc:spChg>
        <pc:spChg chg="mod">
          <ac:chgData name="LAURIOZ Hubert" userId="042c0725-f647-406f-add6-64a715f31917" providerId="ADAL" clId="{F0C62922-55A7-407C-A165-2FC8EFF778AB}" dt="2022-02-24T11:50:31.854" v="1125" actId="1035"/>
          <ac:spMkLst>
            <pc:docMk/>
            <pc:sldMk cId="1476074115" sldId="277"/>
            <ac:spMk id="42" creationId="{2A282941-57E6-4457-8B3D-48654FF9853F}"/>
          </ac:spMkLst>
        </pc:spChg>
        <pc:spChg chg="mod">
          <ac:chgData name="LAURIOZ Hubert" userId="042c0725-f647-406f-add6-64a715f31917" providerId="ADAL" clId="{F0C62922-55A7-407C-A165-2FC8EFF778AB}" dt="2022-02-24T11:50:31.854" v="1125" actId="1035"/>
          <ac:spMkLst>
            <pc:docMk/>
            <pc:sldMk cId="1476074115" sldId="277"/>
            <ac:spMk id="45" creationId="{6DA904BF-8B04-4FBB-AE4A-F3B8978E441D}"/>
          </ac:spMkLst>
        </pc:spChg>
        <pc:spChg chg="mod">
          <ac:chgData name="LAURIOZ Hubert" userId="042c0725-f647-406f-add6-64a715f31917" providerId="ADAL" clId="{F0C62922-55A7-407C-A165-2FC8EFF778AB}" dt="2022-02-24T11:50:23.232" v="1121" actId="1035"/>
          <ac:spMkLst>
            <pc:docMk/>
            <pc:sldMk cId="1476074115" sldId="277"/>
            <ac:spMk id="48" creationId="{E88A8488-ADC8-481C-BA0C-4FBD9EC1F281}"/>
          </ac:spMkLst>
        </pc:spChg>
        <pc:spChg chg="mod">
          <ac:chgData name="LAURIOZ Hubert" userId="042c0725-f647-406f-add6-64a715f31917" providerId="ADAL" clId="{F0C62922-55A7-407C-A165-2FC8EFF778AB}" dt="2022-02-24T11:50:23.232" v="1121" actId="1035"/>
          <ac:spMkLst>
            <pc:docMk/>
            <pc:sldMk cId="1476074115" sldId="277"/>
            <ac:spMk id="49" creationId="{5C7D54C8-CDDB-41BA-B4FC-1D61E03FBF1B}"/>
          </ac:spMkLst>
        </pc:spChg>
        <pc:spChg chg="mod">
          <ac:chgData name="LAURIOZ Hubert" userId="042c0725-f647-406f-add6-64a715f31917" providerId="ADAL" clId="{F0C62922-55A7-407C-A165-2FC8EFF778AB}" dt="2022-02-24T11:50:27.924" v="1123" actId="1035"/>
          <ac:spMkLst>
            <pc:docMk/>
            <pc:sldMk cId="1476074115" sldId="277"/>
            <ac:spMk id="50" creationId="{1FA90112-11E2-4510-9681-BE8E70C2DF92}"/>
          </ac:spMkLst>
        </pc:spChg>
        <pc:spChg chg="mod">
          <ac:chgData name="LAURIOZ Hubert" userId="042c0725-f647-406f-add6-64a715f31917" providerId="ADAL" clId="{F0C62922-55A7-407C-A165-2FC8EFF778AB}" dt="2022-02-24T11:50:31.854" v="1125" actId="1035"/>
          <ac:spMkLst>
            <pc:docMk/>
            <pc:sldMk cId="1476074115" sldId="277"/>
            <ac:spMk id="51" creationId="{9858ABA8-AF0F-424E-9C3A-BC18911D37F8}"/>
          </ac:spMkLst>
        </pc:spChg>
        <pc:picChg chg="mod">
          <ac:chgData name="LAURIOZ Hubert" userId="042c0725-f647-406f-add6-64a715f31917" providerId="ADAL" clId="{F0C62922-55A7-407C-A165-2FC8EFF778AB}" dt="2022-02-24T11:50:27.924" v="1123" actId="1035"/>
          <ac:picMkLst>
            <pc:docMk/>
            <pc:sldMk cId="1476074115" sldId="277"/>
            <ac:picMk id="3" creationId="{B9681068-74D6-4CDA-BC49-BC0D868AF05F}"/>
          </ac:picMkLst>
        </pc:picChg>
        <pc:picChg chg="mod">
          <ac:chgData name="LAURIOZ Hubert" userId="042c0725-f647-406f-add6-64a715f31917" providerId="ADAL" clId="{F0C62922-55A7-407C-A165-2FC8EFF778AB}" dt="2022-02-24T11:46:47.051" v="948" actId="1038"/>
          <ac:picMkLst>
            <pc:docMk/>
            <pc:sldMk cId="1476074115" sldId="277"/>
            <ac:picMk id="8" creationId="{1BC77875-0BF3-4CF1-8611-BE77B1F7E833}"/>
          </ac:picMkLst>
        </pc:picChg>
        <pc:picChg chg="mod">
          <ac:chgData name="LAURIOZ Hubert" userId="042c0725-f647-406f-add6-64a715f31917" providerId="ADAL" clId="{F0C62922-55A7-407C-A165-2FC8EFF778AB}" dt="2022-02-24T11:50:18.166" v="1119" actId="1035"/>
          <ac:picMkLst>
            <pc:docMk/>
            <pc:sldMk cId="1476074115" sldId="277"/>
            <ac:picMk id="13" creationId="{B15F524A-BC6F-4F74-BAF2-13F8C493CCFC}"/>
          </ac:picMkLst>
        </pc:picChg>
        <pc:picChg chg="mod">
          <ac:chgData name="LAURIOZ Hubert" userId="042c0725-f647-406f-add6-64a715f31917" providerId="ADAL" clId="{F0C62922-55A7-407C-A165-2FC8EFF778AB}" dt="2022-02-24T11:50:56.532" v="1127" actId="1076"/>
          <ac:picMkLst>
            <pc:docMk/>
            <pc:sldMk cId="1476074115" sldId="277"/>
            <ac:picMk id="24" creationId="{2AA2AE77-09D2-42CB-B639-8C8D752A9E88}"/>
          </ac:picMkLst>
        </pc:picChg>
        <pc:picChg chg="mod">
          <ac:chgData name="LAURIOZ Hubert" userId="042c0725-f647-406f-add6-64a715f31917" providerId="ADAL" clId="{F0C62922-55A7-407C-A165-2FC8EFF778AB}" dt="2022-02-24T11:50:27.924" v="1123" actId="1035"/>
          <ac:picMkLst>
            <pc:docMk/>
            <pc:sldMk cId="1476074115" sldId="277"/>
            <ac:picMk id="38" creationId="{236B677B-90FD-43C0-A837-B30FFDE5318C}"/>
          </ac:picMkLst>
        </pc:picChg>
      </pc:sldChg>
    </pc:docChg>
  </pc:docChgLst>
  <pc:docChgLst>
    <pc:chgData name="TIXIER Francois" userId="776a6eeb-52e0-4e7d-86f2-ecfd5b5be952" providerId="ADAL" clId="{3FAC9845-40ED-4A78-88C0-978C5F1535EF}"/>
    <pc:docChg chg="custSel addSld delSld modSld">
      <pc:chgData name="TIXIER Francois" userId="776a6eeb-52e0-4e7d-86f2-ecfd5b5be952" providerId="ADAL" clId="{3FAC9845-40ED-4A78-88C0-978C5F1535EF}" dt="2022-04-14T07:17:58.906" v="6889" actId="14100"/>
      <pc:docMkLst>
        <pc:docMk/>
      </pc:docMkLst>
      <pc:sldChg chg="addSp delSp modSp del mod">
        <pc:chgData name="TIXIER Francois" userId="776a6eeb-52e0-4e7d-86f2-ecfd5b5be952" providerId="ADAL" clId="{3FAC9845-40ED-4A78-88C0-978C5F1535EF}" dt="2022-04-12T13:27:00.432" v="6540" actId="47"/>
        <pc:sldMkLst>
          <pc:docMk/>
          <pc:sldMk cId="3961122517" sldId="267"/>
        </pc:sldMkLst>
        <pc:spChg chg="mod">
          <ac:chgData name="TIXIER Francois" userId="776a6eeb-52e0-4e7d-86f2-ecfd5b5be952" providerId="ADAL" clId="{3FAC9845-40ED-4A78-88C0-978C5F1535EF}" dt="2022-03-23T09:10:14.220" v="3" actId="20577"/>
          <ac:spMkLst>
            <pc:docMk/>
            <pc:sldMk cId="3961122517" sldId="267"/>
            <ac:spMk id="2" creationId="{22D24C96-7543-474E-B00F-BCD0EF9041EE}"/>
          </ac:spMkLst>
        </pc:spChg>
        <pc:spChg chg="add mod">
          <ac:chgData name="TIXIER Francois" userId="776a6eeb-52e0-4e7d-86f2-ecfd5b5be952" providerId="ADAL" clId="{3FAC9845-40ED-4A78-88C0-978C5F1535EF}" dt="2022-04-06T06:40:23.020" v="5361" actId="5793"/>
          <ac:spMkLst>
            <pc:docMk/>
            <pc:sldMk cId="3961122517" sldId="267"/>
            <ac:spMk id="6" creationId="{16AA4776-EF33-4C1F-B471-CADD54573F20}"/>
          </ac:spMkLst>
        </pc:spChg>
        <pc:spChg chg="del">
          <ac:chgData name="TIXIER Francois" userId="776a6eeb-52e0-4e7d-86f2-ecfd5b5be952" providerId="ADAL" clId="{3FAC9845-40ED-4A78-88C0-978C5F1535EF}" dt="2022-03-23T09:10:36.336" v="7" actId="478"/>
          <ac:spMkLst>
            <pc:docMk/>
            <pc:sldMk cId="3961122517" sldId="267"/>
            <ac:spMk id="8" creationId="{D4B20E88-B586-4A4B-BF6D-11604951AC21}"/>
          </ac:spMkLst>
        </pc:spChg>
        <pc:spChg chg="mod">
          <ac:chgData name="TIXIER Francois" userId="776a6eeb-52e0-4e7d-86f2-ecfd5b5be952" providerId="ADAL" clId="{3FAC9845-40ED-4A78-88C0-978C5F1535EF}" dt="2022-04-06T07:10:59.177" v="6351" actId="20577"/>
          <ac:spMkLst>
            <pc:docMk/>
            <pc:sldMk cId="3961122517" sldId="267"/>
            <ac:spMk id="11" creationId="{4310A109-750C-463C-A44F-CE0096C43ED2}"/>
          </ac:spMkLst>
        </pc:spChg>
        <pc:spChg chg="del">
          <ac:chgData name="TIXIER Francois" userId="776a6eeb-52e0-4e7d-86f2-ecfd5b5be952" providerId="ADAL" clId="{3FAC9845-40ED-4A78-88C0-978C5F1535EF}" dt="2022-03-24T13:41:09.202" v="175" actId="478"/>
          <ac:spMkLst>
            <pc:docMk/>
            <pc:sldMk cId="3961122517" sldId="267"/>
            <ac:spMk id="16" creationId="{3A1AEA27-126A-4AC2-BD3C-3150E8CA0ADC}"/>
          </ac:spMkLst>
        </pc:spChg>
        <pc:spChg chg="add mod">
          <ac:chgData name="TIXIER Francois" userId="776a6eeb-52e0-4e7d-86f2-ecfd5b5be952" providerId="ADAL" clId="{3FAC9845-40ED-4A78-88C0-978C5F1535EF}" dt="2022-04-06T06:41:08.845" v="5433" actId="5793"/>
          <ac:spMkLst>
            <pc:docMk/>
            <pc:sldMk cId="3961122517" sldId="267"/>
            <ac:spMk id="16" creationId="{ACE5363E-2F26-495D-B472-A2E8766DA8EC}"/>
          </ac:spMkLst>
        </pc:spChg>
        <pc:spChg chg="add mod">
          <ac:chgData name="TIXIER Francois" userId="776a6eeb-52e0-4e7d-86f2-ecfd5b5be952" providerId="ADAL" clId="{3FAC9845-40ED-4A78-88C0-978C5F1535EF}" dt="2022-04-06T06:40:19.004" v="5357" actId="1076"/>
          <ac:spMkLst>
            <pc:docMk/>
            <pc:sldMk cId="3961122517" sldId="267"/>
            <ac:spMk id="18" creationId="{576DB849-E641-4BEE-8EA7-BD3EE119EF61}"/>
          </ac:spMkLst>
        </pc:spChg>
        <pc:spChg chg="del">
          <ac:chgData name="TIXIER Francois" userId="776a6eeb-52e0-4e7d-86f2-ecfd5b5be952" providerId="ADAL" clId="{3FAC9845-40ED-4A78-88C0-978C5F1535EF}" dt="2022-03-23T09:10:34.887" v="6" actId="478"/>
          <ac:spMkLst>
            <pc:docMk/>
            <pc:sldMk cId="3961122517" sldId="267"/>
            <ac:spMk id="18" creationId="{B7BFA590-74AE-4831-88EB-B0F6462CA88C}"/>
          </ac:spMkLst>
        </pc:spChg>
        <pc:spChg chg="del">
          <ac:chgData name="TIXIER Francois" userId="776a6eeb-52e0-4e7d-86f2-ecfd5b5be952" providerId="ADAL" clId="{3FAC9845-40ED-4A78-88C0-978C5F1535EF}" dt="2022-03-23T09:10:32.853" v="5" actId="478"/>
          <ac:spMkLst>
            <pc:docMk/>
            <pc:sldMk cId="3961122517" sldId="267"/>
            <ac:spMk id="20" creationId="{406B854E-F8CB-4D82-95F5-3EA39D6BDA07}"/>
          </ac:spMkLst>
        </pc:spChg>
        <pc:grpChg chg="add mod">
          <ac:chgData name="TIXIER Francois" userId="776a6eeb-52e0-4e7d-86f2-ecfd5b5be952" providerId="ADAL" clId="{3FAC9845-40ED-4A78-88C0-978C5F1535EF}" dt="2022-04-04T09:23:37.398" v="4806" actId="1076"/>
          <ac:grpSpMkLst>
            <pc:docMk/>
            <pc:sldMk cId="3961122517" sldId="267"/>
            <ac:grpSpMk id="9" creationId="{DF805C03-3DB0-4E33-8643-C36C88AA3A9C}"/>
          </ac:grpSpMkLst>
        </pc:grpChg>
        <pc:grpChg chg="del">
          <ac:chgData name="TIXIER Francois" userId="776a6eeb-52e0-4e7d-86f2-ecfd5b5be952" providerId="ADAL" clId="{3FAC9845-40ED-4A78-88C0-978C5F1535EF}" dt="2022-03-23T09:10:29.258" v="4" actId="478"/>
          <ac:grpSpMkLst>
            <pc:docMk/>
            <pc:sldMk cId="3961122517" sldId="267"/>
            <ac:grpSpMk id="13" creationId="{37D3AE5B-99E5-4089-B83D-492638A038B0}"/>
          </ac:grpSpMkLst>
        </pc:grpChg>
        <pc:picChg chg="add del mod">
          <ac:chgData name="TIXIER Francois" userId="776a6eeb-52e0-4e7d-86f2-ecfd5b5be952" providerId="ADAL" clId="{3FAC9845-40ED-4A78-88C0-978C5F1535EF}" dt="2022-03-29T06:08:04.460" v="377" actId="478"/>
          <ac:picMkLst>
            <pc:docMk/>
            <pc:sldMk cId="3961122517" sldId="267"/>
            <ac:picMk id="4" creationId="{47897326-8CF8-4BA8-8B02-549B05E9B548}"/>
          </ac:picMkLst>
        </pc:picChg>
        <pc:picChg chg="add mod">
          <ac:chgData name="TIXIER Francois" userId="776a6eeb-52e0-4e7d-86f2-ecfd5b5be952" providerId="ADAL" clId="{3FAC9845-40ED-4A78-88C0-978C5F1535EF}" dt="2022-04-04T08:37:42.980" v="3629" actId="164"/>
          <ac:picMkLst>
            <pc:docMk/>
            <pc:sldMk cId="3961122517" sldId="267"/>
            <ac:picMk id="4" creationId="{8910E1D6-EA9B-4C9B-ADDF-C31371562511}"/>
          </ac:picMkLst>
        </pc:picChg>
        <pc:picChg chg="add mod">
          <ac:chgData name="TIXIER Francois" userId="776a6eeb-52e0-4e7d-86f2-ecfd5b5be952" providerId="ADAL" clId="{3FAC9845-40ED-4A78-88C0-978C5F1535EF}" dt="2022-04-04T08:37:42.980" v="3629" actId="164"/>
          <ac:picMkLst>
            <pc:docMk/>
            <pc:sldMk cId="3961122517" sldId="267"/>
            <ac:picMk id="8" creationId="{223AF2DE-17FF-4F34-A29A-9863EB4CE928}"/>
          </ac:picMkLst>
        </pc:picChg>
      </pc:sldChg>
      <pc:sldChg chg="addSp delSp modSp mod">
        <pc:chgData name="TIXIER Francois" userId="776a6eeb-52e0-4e7d-86f2-ecfd5b5be952" providerId="ADAL" clId="{3FAC9845-40ED-4A78-88C0-978C5F1535EF}" dt="2022-04-12T14:08:40.151" v="6835" actId="20577"/>
        <pc:sldMkLst>
          <pc:docMk/>
          <pc:sldMk cId="489060114" sldId="268"/>
        </pc:sldMkLst>
        <pc:spChg chg="del">
          <ac:chgData name="TIXIER Francois" userId="776a6eeb-52e0-4e7d-86f2-ecfd5b5be952" providerId="ADAL" clId="{3FAC9845-40ED-4A78-88C0-978C5F1535EF}" dt="2022-03-23T09:11:00.892" v="9" actId="478"/>
          <ac:spMkLst>
            <pc:docMk/>
            <pc:sldMk cId="489060114" sldId="268"/>
            <ac:spMk id="6" creationId="{84FC3229-141E-498D-A527-2223553C236C}"/>
          </ac:spMkLst>
        </pc:spChg>
        <pc:spChg chg="del">
          <ac:chgData name="TIXIER Francois" userId="776a6eeb-52e0-4e7d-86f2-ecfd5b5be952" providerId="ADAL" clId="{3FAC9845-40ED-4A78-88C0-978C5F1535EF}" dt="2022-03-23T09:11:00.892" v="9" actId="478"/>
          <ac:spMkLst>
            <pc:docMk/>
            <pc:sldMk cId="489060114" sldId="268"/>
            <ac:spMk id="7" creationId="{BE2E7BB6-095A-490A-8861-38E09F62137C}"/>
          </ac:spMkLst>
        </pc:spChg>
        <pc:spChg chg="del">
          <ac:chgData name="TIXIER Francois" userId="776a6eeb-52e0-4e7d-86f2-ecfd5b5be952" providerId="ADAL" clId="{3FAC9845-40ED-4A78-88C0-978C5F1535EF}" dt="2022-03-23T09:10:58.270" v="8" actId="478"/>
          <ac:spMkLst>
            <pc:docMk/>
            <pc:sldMk cId="489060114" sldId="268"/>
            <ac:spMk id="14" creationId="{242A9C8B-B905-4F77-9027-4DB1F0436373}"/>
          </ac:spMkLst>
        </pc:spChg>
        <pc:spChg chg="mod">
          <ac:chgData name="TIXIER Francois" userId="776a6eeb-52e0-4e7d-86f2-ecfd5b5be952" providerId="ADAL" clId="{3FAC9845-40ED-4A78-88C0-978C5F1535EF}" dt="2022-03-23T09:11:40.182" v="66" actId="20577"/>
          <ac:spMkLst>
            <pc:docMk/>
            <pc:sldMk cId="489060114" sldId="268"/>
            <ac:spMk id="20" creationId="{A321D76A-F6EA-4D2C-BA1D-2394EC7E8C48}"/>
          </ac:spMkLst>
        </pc:spChg>
        <pc:spChg chg="mod">
          <ac:chgData name="TIXIER Francois" userId="776a6eeb-52e0-4e7d-86f2-ecfd5b5be952" providerId="ADAL" clId="{3FAC9845-40ED-4A78-88C0-978C5F1535EF}" dt="2022-04-04T08:18:04.537" v="3547" actId="14100"/>
          <ac:spMkLst>
            <pc:docMk/>
            <pc:sldMk cId="489060114" sldId="268"/>
            <ac:spMk id="29" creationId="{87D432D1-17DF-4C82-934A-D81DD6173F0F}"/>
          </ac:spMkLst>
        </pc:spChg>
        <pc:spChg chg="del">
          <ac:chgData name="TIXIER Francois" userId="776a6eeb-52e0-4e7d-86f2-ecfd5b5be952" providerId="ADAL" clId="{3FAC9845-40ED-4A78-88C0-978C5F1535EF}" dt="2022-03-23T09:11:06.991" v="12" actId="478"/>
          <ac:spMkLst>
            <pc:docMk/>
            <pc:sldMk cId="489060114" sldId="268"/>
            <ac:spMk id="32" creationId="{CDD6520C-8658-43AB-AD21-84B1B90B862B}"/>
          </ac:spMkLst>
        </pc:spChg>
        <pc:spChg chg="mod">
          <ac:chgData name="TIXIER Francois" userId="776a6eeb-52e0-4e7d-86f2-ecfd5b5be952" providerId="ADAL" clId="{3FAC9845-40ED-4A78-88C0-978C5F1535EF}" dt="2022-04-04T08:11:28.498" v="3471" actId="404"/>
          <ac:spMkLst>
            <pc:docMk/>
            <pc:sldMk cId="489060114" sldId="268"/>
            <ac:spMk id="33" creationId="{EE421611-0F5D-4082-94CE-0B093C6FE451}"/>
          </ac:spMkLst>
        </pc:spChg>
        <pc:spChg chg="del mod">
          <ac:chgData name="TIXIER Francois" userId="776a6eeb-52e0-4e7d-86f2-ecfd5b5be952" providerId="ADAL" clId="{3FAC9845-40ED-4A78-88C0-978C5F1535EF}" dt="2022-03-23T09:11:10.094" v="14" actId="478"/>
          <ac:spMkLst>
            <pc:docMk/>
            <pc:sldMk cId="489060114" sldId="268"/>
            <ac:spMk id="34" creationId="{353CC33F-FC02-49B3-87B6-91A8D84A0AEE}"/>
          </ac:spMkLst>
        </pc:spChg>
        <pc:spChg chg="add mod">
          <ac:chgData name="TIXIER Francois" userId="776a6eeb-52e0-4e7d-86f2-ecfd5b5be952" providerId="ADAL" clId="{3FAC9845-40ED-4A78-88C0-978C5F1535EF}" dt="2022-04-12T14:08:40.151" v="6835" actId="20577"/>
          <ac:spMkLst>
            <pc:docMk/>
            <pc:sldMk cId="489060114" sldId="268"/>
            <ac:spMk id="35" creationId="{920915ED-DF35-4392-9F15-952109E49BFF}"/>
          </ac:spMkLst>
        </pc:spChg>
        <pc:spChg chg="add mod">
          <ac:chgData name="TIXIER Francois" userId="776a6eeb-52e0-4e7d-86f2-ecfd5b5be952" providerId="ADAL" clId="{3FAC9845-40ED-4A78-88C0-978C5F1535EF}" dt="2022-03-23T13:50:51.352" v="174"/>
          <ac:spMkLst>
            <pc:docMk/>
            <pc:sldMk cId="489060114" sldId="268"/>
            <ac:spMk id="36" creationId="{350B230C-F15C-4A3D-8574-A4224D85F005}"/>
          </ac:spMkLst>
        </pc:spChg>
        <pc:spChg chg="add mod">
          <ac:chgData name="TIXIER Francois" userId="776a6eeb-52e0-4e7d-86f2-ecfd5b5be952" providerId="ADAL" clId="{3FAC9845-40ED-4A78-88C0-978C5F1535EF}" dt="2022-03-23T13:50:51.352" v="174"/>
          <ac:spMkLst>
            <pc:docMk/>
            <pc:sldMk cId="489060114" sldId="268"/>
            <ac:spMk id="37" creationId="{6EC800BA-8275-4F26-BBD6-721A77B7F255}"/>
          </ac:spMkLst>
        </pc:spChg>
        <pc:spChg chg="add mod">
          <ac:chgData name="TIXIER Francois" userId="776a6eeb-52e0-4e7d-86f2-ecfd5b5be952" providerId="ADAL" clId="{3FAC9845-40ED-4A78-88C0-978C5F1535EF}" dt="2022-03-23T13:50:51.352" v="174"/>
          <ac:spMkLst>
            <pc:docMk/>
            <pc:sldMk cId="489060114" sldId="268"/>
            <ac:spMk id="43" creationId="{0C9F99DA-99B9-46A7-95D3-495E9E8B54E4}"/>
          </ac:spMkLst>
        </pc:spChg>
        <pc:spChg chg="del">
          <ac:chgData name="TIXIER Francois" userId="776a6eeb-52e0-4e7d-86f2-ecfd5b5be952" providerId="ADAL" clId="{3FAC9845-40ED-4A78-88C0-978C5F1535EF}" dt="2022-03-23T09:11:04.864" v="10" actId="478"/>
          <ac:spMkLst>
            <pc:docMk/>
            <pc:sldMk cId="489060114" sldId="268"/>
            <ac:spMk id="67" creationId="{F0309736-F313-415E-9579-FEE391D3C0CB}"/>
          </ac:spMkLst>
        </pc:spChg>
        <pc:spChg chg="del">
          <ac:chgData name="TIXIER Francois" userId="776a6eeb-52e0-4e7d-86f2-ecfd5b5be952" providerId="ADAL" clId="{3FAC9845-40ED-4A78-88C0-978C5F1535EF}" dt="2022-03-23T09:11:00.892" v="9" actId="478"/>
          <ac:spMkLst>
            <pc:docMk/>
            <pc:sldMk cId="489060114" sldId="268"/>
            <ac:spMk id="69" creationId="{D0FBB39D-13C6-4CF4-875F-7A3437CFA18B}"/>
          </ac:spMkLst>
        </pc:spChg>
        <pc:spChg chg="del">
          <ac:chgData name="TIXIER Francois" userId="776a6eeb-52e0-4e7d-86f2-ecfd5b5be952" providerId="ADAL" clId="{3FAC9845-40ED-4A78-88C0-978C5F1535EF}" dt="2022-03-23T09:11:14.557" v="15" actId="478"/>
          <ac:spMkLst>
            <pc:docMk/>
            <pc:sldMk cId="489060114" sldId="268"/>
            <ac:spMk id="72" creationId="{489A8BEE-F00B-42F0-A290-F66F4F1CC7DF}"/>
          </ac:spMkLst>
        </pc:spChg>
        <pc:spChg chg="del">
          <ac:chgData name="TIXIER Francois" userId="776a6eeb-52e0-4e7d-86f2-ecfd5b5be952" providerId="ADAL" clId="{3FAC9845-40ED-4A78-88C0-978C5F1535EF}" dt="2022-03-23T09:11:04.864" v="10" actId="478"/>
          <ac:spMkLst>
            <pc:docMk/>
            <pc:sldMk cId="489060114" sldId="268"/>
            <ac:spMk id="75" creationId="{0BAD3D4F-95F1-4E7E-862A-E1F1D01FBFC7}"/>
          </ac:spMkLst>
        </pc:spChg>
        <pc:spChg chg="del">
          <ac:chgData name="TIXIER Francois" userId="776a6eeb-52e0-4e7d-86f2-ecfd5b5be952" providerId="ADAL" clId="{3FAC9845-40ED-4A78-88C0-978C5F1535EF}" dt="2022-03-23T09:11:14.557" v="15" actId="478"/>
          <ac:spMkLst>
            <pc:docMk/>
            <pc:sldMk cId="489060114" sldId="268"/>
            <ac:spMk id="83" creationId="{DDEA70D2-1EB3-4217-9C77-FF0D3CCB56E1}"/>
          </ac:spMkLst>
        </pc:spChg>
        <pc:spChg chg="del">
          <ac:chgData name="TIXIER Francois" userId="776a6eeb-52e0-4e7d-86f2-ecfd5b5be952" providerId="ADAL" clId="{3FAC9845-40ED-4A78-88C0-978C5F1535EF}" dt="2022-03-23T09:11:00.892" v="9" actId="478"/>
          <ac:spMkLst>
            <pc:docMk/>
            <pc:sldMk cId="489060114" sldId="268"/>
            <ac:spMk id="86" creationId="{CCEF11EF-F9A2-47DC-BDA9-5027F5EBFCB2}"/>
          </ac:spMkLst>
        </pc:spChg>
        <pc:spChg chg="del">
          <ac:chgData name="TIXIER Francois" userId="776a6eeb-52e0-4e7d-86f2-ecfd5b5be952" providerId="ADAL" clId="{3FAC9845-40ED-4A78-88C0-978C5F1535EF}" dt="2022-03-23T09:11:04.864" v="10" actId="478"/>
          <ac:spMkLst>
            <pc:docMk/>
            <pc:sldMk cId="489060114" sldId="268"/>
            <ac:spMk id="87" creationId="{D2665F66-DE0E-44D3-9171-BA19D92C6250}"/>
          </ac:spMkLst>
        </pc:spChg>
        <pc:spChg chg="del">
          <ac:chgData name="TIXIER Francois" userId="776a6eeb-52e0-4e7d-86f2-ecfd5b5be952" providerId="ADAL" clId="{3FAC9845-40ED-4A78-88C0-978C5F1535EF}" dt="2022-03-23T09:11:14.557" v="15" actId="478"/>
          <ac:spMkLst>
            <pc:docMk/>
            <pc:sldMk cId="489060114" sldId="268"/>
            <ac:spMk id="88" creationId="{B3A177A3-7111-4ACE-863F-7FBB6FD6FC81}"/>
          </ac:spMkLst>
        </pc:spChg>
        <pc:grpChg chg="del">
          <ac:chgData name="TIXIER Francois" userId="776a6eeb-52e0-4e7d-86f2-ecfd5b5be952" providerId="ADAL" clId="{3FAC9845-40ED-4A78-88C0-978C5F1535EF}" dt="2022-03-23T09:11:00.892" v="9" actId="478"/>
          <ac:grpSpMkLst>
            <pc:docMk/>
            <pc:sldMk cId="489060114" sldId="268"/>
            <ac:grpSpMk id="3" creationId="{76BED6E3-D4D8-4F04-8B63-2DA7CB16896B}"/>
          </ac:grpSpMkLst>
        </pc:grpChg>
        <pc:grpChg chg="del">
          <ac:chgData name="TIXIER Francois" userId="776a6eeb-52e0-4e7d-86f2-ecfd5b5be952" providerId="ADAL" clId="{3FAC9845-40ED-4A78-88C0-978C5F1535EF}" dt="2022-03-23T09:11:05.989" v="11" actId="478"/>
          <ac:grpSpMkLst>
            <pc:docMk/>
            <pc:sldMk cId="489060114" sldId="268"/>
            <ac:grpSpMk id="4" creationId="{8A973AC8-D225-4CF2-987A-2CB5228E2335}"/>
          </ac:grpSpMkLst>
        </pc:grpChg>
        <pc:grpChg chg="add mod">
          <ac:chgData name="TIXIER Francois" userId="776a6eeb-52e0-4e7d-86f2-ecfd5b5be952" providerId="ADAL" clId="{3FAC9845-40ED-4A78-88C0-978C5F1535EF}" dt="2022-04-04T08:18:24.733" v="3550" actId="1076"/>
          <ac:grpSpMkLst>
            <pc:docMk/>
            <pc:sldMk cId="489060114" sldId="268"/>
            <ac:grpSpMk id="8" creationId="{91445D41-7DE5-4228-AC55-A553CC1BC67E}"/>
          </ac:grpSpMkLst>
        </pc:grpChg>
        <pc:graphicFrameChg chg="add mod">
          <ac:chgData name="TIXIER Francois" userId="776a6eeb-52e0-4e7d-86f2-ecfd5b5be952" providerId="ADAL" clId="{3FAC9845-40ED-4A78-88C0-978C5F1535EF}" dt="2022-03-23T13:50:51.352" v="174"/>
          <ac:graphicFrameMkLst>
            <pc:docMk/>
            <pc:sldMk cId="489060114" sldId="268"/>
            <ac:graphicFrameMk id="38" creationId="{5564476A-43C8-4F40-B742-92AF3FA40F97}"/>
          </ac:graphicFrameMkLst>
        </pc:graphicFrameChg>
        <pc:picChg chg="add mod">
          <ac:chgData name="TIXIER Francois" userId="776a6eeb-52e0-4e7d-86f2-ecfd5b5be952" providerId="ADAL" clId="{3FAC9845-40ED-4A78-88C0-978C5F1535EF}" dt="2022-04-04T08:18:19.836" v="3548" actId="164"/>
          <ac:picMkLst>
            <pc:docMk/>
            <pc:sldMk cId="489060114" sldId="268"/>
            <ac:picMk id="3" creationId="{C01C6B1E-6955-4DDA-9AFA-91F4B7D79F1F}"/>
          </ac:picMkLst>
        </pc:picChg>
        <pc:picChg chg="add mod">
          <ac:chgData name="TIXIER Francois" userId="776a6eeb-52e0-4e7d-86f2-ecfd5b5be952" providerId="ADAL" clId="{3FAC9845-40ED-4A78-88C0-978C5F1535EF}" dt="2022-04-04T08:18:19.836" v="3548" actId="164"/>
          <ac:picMkLst>
            <pc:docMk/>
            <pc:sldMk cId="489060114" sldId="268"/>
            <ac:picMk id="5" creationId="{5B2CF93A-DB91-4F7F-A247-F67B258C6706}"/>
          </ac:picMkLst>
        </pc:picChg>
        <pc:picChg chg="add mod">
          <ac:chgData name="TIXIER Francois" userId="776a6eeb-52e0-4e7d-86f2-ecfd5b5be952" providerId="ADAL" clId="{3FAC9845-40ED-4A78-88C0-978C5F1535EF}" dt="2022-04-04T08:18:19.836" v="3548" actId="164"/>
          <ac:picMkLst>
            <pc:docMk/>
            <pc:sldMk cId="489060114" sldId="268"/>
            <ac:picMk id="7" creationId="{645FACEB-B287-4449-8CAB-E793D9F1404F}"/>
          </ac:picMkLst>
        </pc:picChg>
        <pc:picChg chg="del">
          <ac:chgData name="TIXIER Francois" userId="776a6eeb-52e0-4e7d-86f2-ecfd5b5be952" providerId="ADAL" clId="{3FAC9845-40ED-4A78-88C0-978C5F1535EF}" dt="2022-03-23T09:11:14.557" v="15" actId="478"/>
          <ac:picMkLst>
            <pc:docMk/>
            <pc:sldMk cId="489060114" sldId="268"/>
            <ac:picMk id="12" creationId="{189BD52C-8E7B-4EC4-BAAB-5FFBA04BE4D8}"/>
          </ac:picMkLst>
        </pc:picChg>
        <pc:picChg chg="add mod">
          <ac:chgData name="TIXIER Francois" userId="776a6eeb-52e0-4e7d-86f2-ecfd5b5be952" providerId="ADAL" clId="{3FAC9845-40ED-4A78-88C0-978C5F1535EF}" dt="2022-03-23T13:50:51.352" v="174"/>
          <ac:picMkLst>
            <pc:docMk/>
            <pc:sldMk cId="489060114" sldId="268"/>
            <ac:picMk id="39" creationId="{A73B9876-227B-4A6D-8940-825D4A8A1292}"/>
          </ac:picMkLst>
        </pc:picChg>
        <pc:picChg chg="add mod">
          <ac:chgData name="TIXIER Francois" userId="776a6eeb-52e0-4e7d-86f2-ecfd5b5be952" providerId="ADAL" clId="{3FAC9845-40ED-4A78-88C0-978C5F1535EF}" dt="2022-03-23T13:50:51.352" v="174"/>
          <ac:picMkLst>
            <pc:docMk/>
            <pc:sldMk cId="489060114" sldId="268"/>
            <ac:picMk id="40" creationId="{A03F7DD7-4AC2-416A-9CB0-7B2A54BD9C0F}"/>
          </ac:picMkLst>
        </pc:picChg>
        <pc:picChg chg="add mod">
          <ac:chgData name="TIXIER Francois" userId="776a6eeb-52e0-4e7d-86f2-ecfd5b5be952" providerId="ADAL" clId="{3FAC9845-40ED-4A78-88C0-978C5F1535EF}" dt="2022-03-23T13:50:51.352" v="174"/>
          <ac:picMkLst>
            <pc:docMk/>
            <pc:sldMk cId="489060114" sldId="268"/>
            <ac:picMk id="41" creationId="{BFBEDEB3-4629-422E-A74D-75FF70B61BDE}"/>
          </ac:picMkLst>
        </pc:picChg>
        <pc:picChg chg="add mod">
          <ac:chgData name="TIXIER Francois" userId="776a6eeb-52e0-4e7d-86f2-ecfd5b5be952" providerId="ADAL" clId="{3FAC9845-40ED-4A78-88C0-978C5F1535EF}" dt="2022-03-23T13:50:51.352" v="174"/>
          <ac:picMkLst>
            <pc:docMk/>
            <pc:sldMk cId="489060114" sldId="268"/>
            <ac:picMk id="42" creationId="{CDE5D44A-0A31-4EC8-8C8F-A6F7B4659AB8}"/>
          </ac:picMkLst>
        </pc:picChg>
        <pc:picChg chg="del">
          <ac:chgData name="TIXIER Francois" userId="776a6eeb-52e0-4e7d-86f2-ecfd5b5be952" providerId="ADAL" clId="{3FAC9845-40ED-4A78-88C0-978C5F1535EF}" dt="2022-03-23T09:11:00.892" v="9" actId="478"/>
          <ac:picMkLst>
            <pc:docMk/>
            <pc:sldMk cId="489060114" sldId="268"/>
            <ac:picMk id="68" creationId="{70D1C19D-0C74-473F-9975-2E7422D7FC67}"/>
          </ac:picMkLst>
        </pc:picChg>
        <pc:picChg chg="del">
          <ac:chgData name="TIXIER Francois" userId="776a6eeb-52e0-4e7d-86f2-ecfd5b5be952" providerId="ADAL" clId="{3FAC9845-40ED-4A78-88C0-978C5F1535EF}" dt="2022-03-23T09:11:14.557" v="15" actId="478"/>
          <ac:picMkLst>
            <pc:docMk/>
            <pc:sldMk cId="489060114" sldId="268"/>
            <ac:picMk id="70" creationId="{D585B693-7D0F-41B8-BCC6-86B9C597FBA5}"/>
          </ac:picMkLst>
        </pc:picChg>
        <pc:picChg chg="del">
          <ac:chgData name="TIXIER Francois" userId="776a6eeb-52e0-4e7d-86f2-ecfd5b5be952" providerId="ADAL" clId="{3FAC9845-40ED-4A78-88C0-978C5F1535EF}" dt="2022-03-23T09:11:14.557" v="15" actId="478"/>
          <ac:picMkLst>
            <pc:docMk/>
            <pc:sldMk cId="489060114" sldId="268"/>
            <ac:picMk id="90" creationId="{9302E3F4-1753-4084-B37F-6D09C0114429}"/>
          </ac:picMkLst>
        </pc:picChg>
      </pc:sldChg>
      <pc:sldChg chg="addSp delSp modSp mod">
        <pc:chgData name="TIXIER Francois" userId="776a6eeb-52e0-4e7d-86f2-ecfd5b5be952" providerId="ADAL" clId="{3FAC9845-40ED-4A78-88C0-978C5F1535EF}" dt="2022-04-14T07:17:58.906" v="6889" actId="14100"/>
        <pc:sldMkLst>
          <pc:docMk/>
          <pc:sldMk cId="2359043163" sldId="275"/>
        </pc:sldMkLst>
        <pc:spChg chg="add del mod">
          <ac:chgData name="TIXIER Francois" userId="776a6eeb-52e0-4e7d-86f2-ecfd5b5be952" providerId="ADAL" clId="{3FAC9845-40ED-4A78-88C0-978C5F1535EF}" dt="2022-04-06T06:46:11.312" v="5890" actId="478"/>
          <ac:spMkLst>
            <pc:docMk/>
            <pc:sldMk cId="2359043163" sldId="275"/>
            <ac:spMk id="3" creationId="{E8739D84-EA81-42A0-B1A6-3AF4BAEE4923}"/>
          </ac:spMkLst>
        </pc:spChg>
        <pc:spChg chg="mod">
          <ac:chgData name="TIXIER Francois" userId="776a6eeb-52e0-4e7d-86f2-ecfd5b5be952" providerId="ADAL" clId="{3FAC9845-40ED-4A78-88C0-978C5F1535EF}" dt="2022-03-29T06:16:57.658" v="1152" actId="1076"/>
          <ac:spMkLst>
            <pc:docMk/>
            <pc:sldMk cId="2359043163" sldId="275"/>
            <ac:spMk id="36" creationId="{C3E3DFC9-C19A-43A9-9C22-F47D256B92F5}"/>
          </ac:spMkLst>
        </pc:spChg>
        <pc:spChg chg="mod">
          <ac:chgData name="TIXIER Francois" userId="776a6eeb-52e0-4e7d-86f2-ecfd5b5be952" providerId="ADAL" clId="{3FAC9845-40ED-4A78-88C0-978C5F1535EF}" dt="2022-03-29T06:16:55.026" v="1151" actId="1076"/>
          <ac:spMkLst>
            <pc:docMk/>
            <pc:sldMk cId="2359043163" sldId="275"/>
            <ac:spMk id="39" creationId="{80643473-3EE3-4CA2-8CCA-3EB7626C95EB}"/>
          </ac:spMkLst>
        </pc:spChg>
        <pc:spChg chg="mod">
          <ac:chgData name="TIXIER Francois" userId="776a6eeb-52e0-4e7d-86f2-ecfd5b5be952" providerId="ADAL" clId="{3FAC9845-40ED-4A78-88C0-978C5F1535EF}" dt="2022-04-08T08:35:17.014" v="6532" actId="14100"/>
          <ac:spMkLst>
            <pc:docMk/>
            <pc:sldMk cId="2359043163" sldId="275"/>
            <ac:spMk id="40" creationId="{CCA8860A-4880-4BAC-BBFC-7296F53DFDBB}"/>
          </ac:spMkLst>
        </pc:spChg>
        <pc:spChg chg="mod">
          <ac:chgData name="TIXIER Francois" userId="776a6eeb-52e0-4e7d-86f2-ecfd5b5be952" providerId="ADAL" clId="{3FAC9845-40ED-4A78-88C0-978C5F1535EF}" dt="2022-04-08T08:35:21.052" v="6533" actId="1076"/>
          <ac:spMkLst>
            <pc:docMk/>
            <pc:sldMk cId="2359043163" sldId="275"/>
            <ac:spMk id="41" creationId="{4A5D430C-F133-4EB6-9964-3D05073AF6A5}"/>
          </ac:spMkLst>
        </pc:spChg>
        <pc:spChg chg="mod">
          <ac:chgData name="TIXIER Francois" userId="776a6eeb-52e0-4e7d-86f2-ecfd5b5be952" providerId="ADAL" clId="{3FAC9845-40ED-4A78-88C0-978C5F1535EF}" dt="2022-04-06T06:49:17.164" v="6059" actId="1076"/>
          <ac:spMkLst>
            <pc:docMk/>
            <pc:sldMk cId="2359043163" sldId="275"/>
            <ac:spMk id="43" creationId="{2EFFF231-9757-40D1-9CDD-D8A613EC753D}"/>
          </ac:spMkLst>
        </pc:spChg>
        <pc:spChg chg="mod">
          <ac:chgData name="TIXIER Francois" userId="776a6eeb-52e0-4e7d-86f2-ecfd5b5be952" providerId="ADAL" clId="{3FAC9845-40ED-4A78-88C0-978C5F1535EF}" dt="2022-04-06T06:49:17.164" v="6059" actId="1076"/>
          <ac:spMkLst>
            <pc:docMk/>
            <pc:sldMk cId="2359043163" sldId="275"/>
            <ac:spMk id="44" creationId="{7AA184DC-254F-4416-8346-E5FCF602478F}"/>
          </ac:spMkLst>
        </pc:spChg>
        <pc:spChg chg="add mod">
          <ac:chgData name="TIXIER Francois" userId="776a6eeb-52e0-4e7d-86f2-ecfd5b5be952" providerId="ADAL" clId="{3FAC9845-40ED-4A78-88C0-978C5F1535EF}" dt="2022-04-06T06:46:58.222" v="5896" actId="14100"/>
          <ac:spMkLst>
            <pc:docMk/>
            <pc:sldMk cId="2359043163" sldId="275"/>
            <ac:spMk id="45" creationId="{561FF896-9186-48A6-8A38-BE2A47481AC9}"/>
          </ac:spMkLst>
        </pc:spChg>
        <pc:spChg chg="add mod">
          <ac:chgData name="TIXIER Francois" userId="776a6eeb-52e0-4e7d-86f2-ecfd5b5be952" providerId="ADAL" clId="{3FAC9845-40ED-4A78-88C0-978C5F1535EF}" dt="2022-04-06T06:52:38.519" v="6223" actId="1076"/>
          <ac:spMkLst>
            <pc:docMk/>
            <pc:sldMk cId="2359043163" sldId="275"/>
            <ac:spMk id="46" creationId="{98892748-7081-4C20-ABC0-4144D84DE3D3}"/>
          </ac:spMkLst>
        </pc:spChg>
        <pc:spChg chg="add mod">
          <ac:chgData name="TIXIER Francois" userId="776a6eeb-52e0-4e7d-86f2-ecfd5b5be952" providerId="ADAL" clId="{3FAC9845-40ED-4A78-88C0-978C5F1535EF}" dt="2022-04-06T06:52:41.512" v="6224" actId="1076"/>
          <ac:spMkLst>
            <pc:docMk/>
            <pc:sldMk cId="2359043163" sldId="275"/>
            <ac:spMk id="47" creationId="{5C7173B8-F164-4808-BA46-DDDE03837299}"/>
          </ac:spMkLst>
        </pc:spChg>
        <pc:spChg chg="add mod">
          <ac:chgData name="TIXIER Francois" userId="776a6eeb-52e0-4e7d-86f2-ecfd5b5be952" providerId="ADAL" clId="{3FAC9845-40ED-4A78-88C0-978C5F1535EF}" dt="2022-04-08T08:31:55.116" v="6531" actId="20577"/>
          <ac:spMkLst>
            <pc:docMk/>
            <pc:sldMk cId="2359043163" sldId="275"/>
            <ac:spMk id="48" creationId="{DFDFC62E-791E-44BA-9C12-BCF4EA49AC42}"/>
          </ac:spMkLst>
        </pc:spChg>
        <pc:spChg chg="add mod">
          <ac:chgData name="TIXIER Francois" userId="776a6eeb-52e0-4e7d-86f2-ecfd5b5be952" providerId="ADAL" clId="{3FAC9845-40ED-4A78-88C0-978C5F1535EF}" dt="2022-04-06T06:52:59.129" v="6228" actId="14100"/>
          <ac:spMkLst>
            <pc:docMk/>
            <pc:sldMk cId="2359043163" sldId="275"/>
            <ac:spMk id="49" creationId="{FB8F205F-CC51-4883-8C10-37158BD02887}"/>
          </ac:spMkLst>
        </pc:spChg>
        <pc:spChg chg="add mod">
          <ac:chgData name="TIXIER Francois" userId="776a6eeb-52e0-4e7d-86f2-ecfd5b5be952" providerId="ADAL" clId="{3FAC9845-40ED-4A78-88C0-978C5F1535EF}" dt="2022-04-06T06:53:08.852" v="6231" actId="20577"/>
          <ac:spMkLst>
            <pc:docMk/>
            <pc:sldMk cId="2359043163" sldId="275"/>
            <ac:spMk id="50" creationId="{205CB7DC-91CC-4545-A255-1F26C78536D0}"/>
          </ac:spMkLst>
        </pc:spChg>
        <pc:grpChg chg="del mod">
          <ac:chgData name="TIXIER Francois" userId="776a6eeb-52e0-4e7d-86f2-ecfd5b5be952" providerId="ADAL" clId="{3FAC9845-40ED-4A78-88C0-978C5F1535EF}" dt="2022-04-04T08:19:39.717" v="3552" actId="478"/>
          <ac:grpSpMkLst>
            <pc:docMk/>
            <pc:sldMk cId="2359043163" sldId="275"/>
            <ac:grpSpMk id="2" creationId="{FC40892C-04A9-49A2-933C-7EB2C89FF3E2}"/>
          </ac:grpSpMkLst>
        </pc:grpChg>
        <pc:picChg chg="add mod">
          <ac:chgData name="TIXIER Francois" userId="776a6eeb-52e0-4e7d-86f2-ecfd5b5be952" providerId="ADAL" clId="{3FAC9845-40ED-4A78-88C0-978C5F1535EF}" dt="2022-04-14T07:17:58.906" v="6889" actId="14100"/>
          <ac:picMkLst>
            <pc:docMk/>
            <pc:sldMk cId="2359043163" sldId="275"/>
            <ac:picMk id="3" creationId="{A1C0ADDC-6128-4BCE-B9D5-A9D36A6E2A6D}"/>
          </ac:picMkLst>
        </pc:picChg>
        <pc:picChg chg="add mod">
          <ac:chgData name="TIXIER Francois" userId="776a6eeb-52e0-4e7d-86f2-ecfd5b5be952" providerId="ADAL" clId="{3FAC9845-40ED-4A78-88C0-978C5F1535EF}" dt="2022-04-04T08:20:36.140" v="3559"/>
          <ac:picMkLst>
            <pc:docMk/>
            <pc:sldMk cId="2359043163" sldId="275"/>
            <ac:picMk id="6" creationId="{0A0FDDB7-43EA-47F6-8E96-A43A21BA5F07}"/>
          </ac:picMkLst>
        </pc:picChg>
        <pc:picChg chg="del">
          <ac:chgData name="TIXIER Francois" userId="776a6eeb-52e0-4e7d-86f2-ecfd5b5be952" providerId="ADAL" clId="{3FAC9845-40ED-4A78-88C0-978C5F1535EF}" dt="2022-04-14T07:17:42.640" v="6881" actId="478"/>
          <ac:picMkLst>
            <pc:docMk/>
            <pc:sldMk cId="2359043163" sldId="275"/>
            <ac:picMk id="28" creationId="{8295784C-356E-469F-BC20-AC2C1BEFCE6D}"/>
          </ac:picMkLst>
        </pc:picChg>
        <pc:picChg chg="mod">
          <ac:chgData name="TIXIER Francois" userId="776a6eeb-52e0-4e7d-86f2-ecfd5b5be952" providerId="ADAL" clId="{3FAC9845-40ED-4A78-88C0-978C5F1535EF}" dt="2022-03-29T06:15:58.675" v="1146" actId="1076"/>
          <ac:picMkLst>
            <pc:docMk/>
            <pc:sldMk cId="2359043163" sldId="275"/>
            <ac:picMk id="42" creationId="{903B0639-60EB-4684-B45C-3CD4952B7F32}"/>
          </ac:picMkLst>
        </pc:picChg>
      </pc:sldChg>
      <pc:sldChg chg="modSp del mod">
        <pc:chgData name="TIXIER Francois" userId="776a6eeb-52e0-4e7d-86f2-ecfd5b5be952" providerId="ADAL" clId="{3FAC9845-40ED-4A78-88C0-978C5F1535EF}" dt="2022-04-06T07:10:13.648" v="6266" actId="47"/>
        <pc:sldMkLst>
          <pc:docMk/>
          <pc:sldMk cId="1476074115" sldId="277"/>
        </pc:sldMkLst>
        <pc:spChg chg="mod">
          <ac:chgData name="TIXIER Francois" userId="776a6eeb-52e0-4e7d-86f2-ecfd5b5be952" providerId="ADAL" clId="{3FAC9845-40ED-4A78-88C0-978C5F1535EF}" dt="2022-04-05T07:55:42.861" v="5212" actId="20577"/>
          <ac:spMkLst>
            <pc:docMk/>
            <pc:sldMk cId="1476074115" sldId="277"/>
            <ac:spMk id="27" creationId="{CC1FDFB4-E8C1-4D0E-A973-1EFFF4D9DD29}"/>
          </ac:spMkLst>
        </pc:spChg>
      </pc:sldChg>
      <pc:sldChg chg="addSp delSp modSp del mod">
        <pc:chgData name="TIXIER Francois" userId="776a6eeb-52e0-4e7d-86f2-ecfd5b5be952" providerId="ADAL" clId="{3FAC9845-40ED-4A78-88C0-978C5F1535EF}" dt="2022-04-12T13:28:44.378" v="6556" actId="47"/>
        <pc:sldMkLst>
          <pc:docMk/>
          <pc:sldMk cId="2485879842" sldId="278"/>
        </pc:sldMkLst>
        <pc:spChg chg="mod">
          <ac:chgData name="TIXIER Francois" userId="776a6eeb-52e0-4e7d-86f2-ecfd5b5be952" providerId="ADAL" clId="{3FAC9845-40ED-4A78-88C0-978C5F1535EF}" dt="2022-04-04T08:43:35.231" v="4045" actId="18245"/>
          <ac:spMkLst>
            <pc:docMk/>
            <pc:sldMk cId="2485879842" sldId="278"/>
            <ac:spMk id="3" creationId="{44862D4D-5069-4D48-A912-A6F436B3AFEF}"/>
          </ac:spMkLst>
        </pc:spChg>
        <pc:spChg chg="mod">
          <ac:chgData name="TIXIER Francois" userId="776a6eeb-52e0-4e7d-86f2-ecfd5b5be952" providerId="ADAL" clId="{3FAC9845-40ED-4A78-88C0-978C5F1535EF}" dt="2022-04-04T08:45:15.081" v="4058" actId="207"/>
          <ac:spMkLst>
            <pc:docMk/>
            <pc:sldMk cId="2485879842" sldId="278"/>
            <ac:spMk id="4" creationId="{890DE970-1978-411C-9CA3-57868A092DC3}"/>
          </ac:spMkLst>
        </pc:spChg>
        <pc:spChg chg="mod">
          <ac:chgData name="TIXIER Francois" userId="776a6eeb-52e0-4e7d-86f2-ecfd5b5be952" providerId="ADAL" clId="{3FAC9845-40ED-4A78-88C0-978C5F1535EF}" dt="2022-04-04T08:43:35.231" v="4045" actId="18245"/>
          <ac:spMkLst>
            <pc:docMk/>
            <pc:sldMk cId="2485879842" sldId="278"/>
            <ac:spMk id="5" creationId="{78C45813-D6B7-4B04-8030-711DC7E79B46}"/>
          </ac:spMkLst>
        </pc:spChg>
        <pc:spChg chg="mod">
          <ac:chgData name="TIXIER Francois" userId="776a6eeb-52e0-4e7d-86f2-ecfd5b5be952" providerId="ADAL" clId="{3FAC9845-40ED-4A78-88C0-978C5F1535EF}" dt="2022-04-04T08:45:20.966" v="4059" actId="207"/>
          <ac:spMkLst>
            <pc:docMk/>
            <pc:sldMk cId="2485879842" sldId="278"/>
            <ac:spMk id="6" creationId="{DFADE82E-888D-4564-ADE8-E913E403D012}"/>
          </ac:spMkLst>
        </pc:spChg>
        <pc:spChg chg="mod">
          <ac:chgData name="TIXIER Francois" userId="776a6eeb-52e0-4e7d-86f2-ecfd5b5be952" providerId="ADAL" clId="{3FAC9845-40ED-4A78-88C0-978C5F1535EF}" dt="2022-04-04T08:43:35.231" v="4045" actId="18245"/>
          <ac:spMkLst>
            <pc:docMk/>
            <pc:sldMk cId="2485879842" sldId="278"/>
            <ac:spMk id="7" creationId="{A6116C91-91E1-427D-955D-FBE70A3EE35D}"/>
          </ac:spMkLst>
        </pc:spChg>
        <pc:spChg chg="mod">
          <ac:chgData name="TIXIER Francois" userId="776a6eeb-52e0-4e7d-86f2-ecfd5b5be952" providerId="ADAL" clId="{3FAC9845-40ED-4A78-88C0-978C5F1535EF}" dt="2022-04-04T08:45:25.285" v="4060" actId="207"/>
          <ac:spMkLst>
            <pc:docMk/>
            <pc:sldMk cId="2485879842" sldId="278"/>
            <ac:spMk id="8" creationId="{F5765768-77B9-434A-9EAA-D65934634561}"/>
          </ac:spMkLst>
        </pc:spChg>
        <pc:spChg chg="mod">
          <ac:chgData name="TIXIER Francois" userId="776a6eeb-52e0-4e7d-86f2-ecfd5b5be952" providerId="ADAL" clId="{3FAC9845-40ED-4A78-88C0-978C5F1535EF}" dt="2022-04-04T08:43:35.231" v="4045" actId="18245"/>
          <ac:spMkLst>
            <pc:docMk/>
            <pc:sldMk cId="2485879842" sldId="278"/>
            <ac:spMk id="9" creationId="{A4561DB3-8549-4B42-A516-A84BE0946D10}"/>
          </ac:spMkLst>
        </pc:spChg>
        <pc:spChg chg="mod">
          <ac:chgData name="TIXIER Francois" userId="776a6eeb-52e0-4e7d-86f2-ecfd5b5be952" providerId="ADAL" clId="{3FAC9845-40ED-4A78-88C0-978C5F1535EF}" dt="2022-04-04T08:45:31.062" v="4061" actId="207"/>
          <ac:spMkLst>
            <pc:docMk/>
            <pc:sldMk cId="2485879842" sldId="278"/>
            <ac:spMk id="10" creationId="{660CFDCE-0150-4E80-A74A-AB70B8D87ADB}"/>
          </ac:spMkLst>
        </pc:spChg>
        <pc:spChg chg="mod">
          <ac:chgData name="TIXIER Francois" userId="776a6eeb-52e0-4e7d-86f2-ecfd5b5be952" providerId="ADAL" clId="{3FAC9845-40ED-4A78-88C0-978C5F1535EF}" dt="2022-04-04T08:43:35.231" v="4045" actId="18245"/>
          <ac:spMkLst>
            <pc:docMk/>
            <pc:sldMk cId="2485879842" sldId="278"/>
            <ac:spMk id="11" creationId="{69010A5D-236D-480C-8106-F8EAD581798B}"/>
          </ac:spMkLst>
        </pc:spChg>
        <pc:spChg chg="del mod">
          <ac:chgData name="TIXIER Francois" userId="776a6eeb-52e0-4e7d-86f2-ecfd5b5be952" providerId="ADAL" clId="{3FAC9845-40ED-4A78-88C0-978C5F1535EF}" dt="2022-04-04T08:39:19.615" v="3723" actId="478"/>
          <ac:spMkLst>
            <pc:docMk/>
            <pc:sldMk cId="2485879842" sldId="278"/>
            <ac:spMk id="35" creationId="{920915ED-DF35-4392-9F15-952109E49BFF}"/>
          </ac:spMkLst>
        </pc:spChg>
        <pc:spChg chg="del">
          <ac:chgData name="TIXIER Francois" userId="776a6eeb-52e0-4e7d-86f2-ecfd5b5be952" providerId="ADAL" clId="{3FAC9845-40ED-4A78-88C0-978C5F1535EF}" dt="2022-04-04T08:41:44.112" v="4038" actId="478"/>
          <ac:spMkLst>
            <pc:docMk/>
            <pc:sldMk cId="2485879842" sldId="278"/>
            <ac:spMk id="36" creationId="{350B230C-F15C-4A3D-8574-A4224D85F005}"/>
          </ac:spMkLst>
        </pc:spChg>
        <pc:spChg chg="mod">
          <ac:chgData name="TIXIER Francois" userId="776a6eeb-52e0-4e7d-86f2-ecfd5b5be952" providerId="ADAL" clId="{3FAC9845-40ED-4A78-88C0-978C5F1535EF}" dt="2022-04-04T08:42:05.765" v="4041" actId="20577"/>
          <ac:spMkLst>
            <pc:docMk/>
            <pc:sldMk cId="2485879842" sldId="278"/>
            <ac:spMk id="37" creationId="{6EC800BA-8275-4F26-BBD6-721A77B7F255}"/>
          </ac:spMkLst>
        </pc:spChg>
        <pc:spChg chg="del">
          <ac:chgData name="TIXIER Francois" userId="776a6eeb-52e0-4e7d-86f2-ecfd5b5be952" providerId="ADAL" clId="{3FAC9845-40ED-4A78-88C0-978C5F1535EF}" dt="2022-04-04T08:41:51.080" v="4039" actId="478"/>
          <ac:spMkLst>
            <pc:docMk/>
            <pc:sldMk cId="2485879842" sldId="278"/>
            <ac:spMk id="43" creationId="{0C9F99DA-99B9-46A7-95D3-495E9E8B54E4}"/>
          </ac:spMkLst>
        </pc:spChg>
        <pc:grpChg chg="mod">
          <ac:chgData name="TIXIER Francois" userId="776a6eeb-52e0-4e7d-86f2-ecfd5b5be952" providerId="ADAL" clId="{3FAC9845-40ED-4A78-88C0-978C5F1535EF}" dt="2022-04-04T08:43:35.231" v="4045" actId="18245"/>
          <ac:grpSpMkLst>
            <pc:docMk/>
            <pc:sldMk cId="2485879842" sldId="278"/>
            <ac:grpSpMk id="2" creationId="{BCE33583-F44C-4853-82D4-EB4FF4A35A9F}"/>
          </ac:grpSpMkLst>
        </pc:grpChg>
        <pc:graphicFrameChg chg="add del mod">
          <ac:chgData name="TIXIER Francois" userId="776a6eeb-52e0-4e7d-86f2-ecfd5b5be952" providerId="ADAL" clId="{3FAC9845-40ED-4A78-88C0-978C5F1535EF}" dt="2022-04-04T08:43:35.231" v="4045" actId="18245"/>
          <ac:graphicFrameMkLst>
            <pc:docMk/>
            <pc:sldMk cId="2485879842" sldId="278"/>
            <ac:graphicFrameMk id="13" creationId="{C59FF664-364B-49EB-808E-6524223DCBC9}"/>
          </ac:graphicFrameMkLst>
        </pc:graphicFrameChg>
        <pc:graphicFrameChg chg="del">
          <ac:chgData name="TIXIER Francois" userId="776a6eeb-52e0-4e7d-86f2-ecfd5b5be952" providerId="ADAL" clId="{3FAC9845-40ED-4A78-88C0-978C5F1535EF}" dt="2022-04-04T08:39:40.858" v="3727" actId="478"/>
          <ac:graphicFrameMkLst>
            <pc:docMk/>
            <pc:sldMk cId="2485879842" sldId="278"/>
            <ac:graphicFrameMk id="38" creationId="{5564476A-43C8-4F40-B742-92AF3FA40F97}"/>
          </ac:graphicFrameMkLst>
        </pc:graphicFrameChg>
        <pc:picChg chg="add mod">
          <ac:chgData name="TIXIER Francois" userId="776a6eeb-52e0-4e7d-86f2-ecfd5b5be952" providerId="ADAL" clId="{3FAC9845-40ED-4A78-88C0-978C5F1535EF}" dt="2022-04-06T08:06:10.166" v="6360" actId="1076"/>
          <ac:picMkLst>
            <pc:docMk/>
            <pc:sldMk cId="2485879842" sldId="278"/>
            <ac:picMk id="13" creationId="{F5D6379B-C776-462B-B040-6D6226D127BE}"/>
          </ac:picMkLst>
        </pc:picChg>
        <pc:picChg chg="add mod">
          <ac:chgData name="TIXIER Francois" userId="776a6eeb-52e0-4e7d-86f2-ecfd5b5be952" providerId="ADAL" clId="{3FAC9845-40ED-4A78-88C0-978C5F1535EF}" dt="2022-04-04T08:46:06.710" v="4070" actId="1036"/>
          <ac:picMkLst>
            <pc:docMk/>
            <pc:sldMk cId="2485879842" sldId="278"/>
            <ac:picMk id="14" creationId="{28307169-3E91-473A-BBB1-11BAE0DFC7CB}"/>
          </ac:picMkLst>
        </pc:picChg>
        <pc:picChg chg="add mod">
          <ac:chgData name="TIXIER Francois" userId="776a6eeb-52e0-4e7d-86f2-ecfd5b5be952" providerId="ADAL" clId="{3FAC9845-40ED-4A78-88C0-978C5F1535EF}" dt="2022-04-04T08:46:10.245" v="4074" actId="1036"/>
          <ac:picMkLst>
            <pc:docMk/>
            <pc:sldMk cId="2485879842" sldId="278"/>
            <ac:picMk id="16" creationId="{0464202A-D787-44B0-B855-39AAEEA5935F}"/>
          </ac:picMkLst>
        </pc:picChg>
        <pc:picChg chg="add mod">
          <ac:chgData name="TIXIER Francois" userId="776a6eeb-52e0-4e7d-86f2-ecfd5b5be952" providerId="ADAL" clId="{3FAC9845-40ED-4A78-88C0-978C5F1535EF}" dt="2022-04-04T08:46:03.018" v="4068" actId="1036"/>
          <ac:picMkLst>
            <pc:docMk/>
            <pc:sldMk cId="2485879842" sldId="278"/>
            <ac:picMk id="17" creationId="{7253FADF-5323-4216-8412-D847EBD8BBC5}"/>
          </ac:picMkLst>
        </pc:picChg>
        <pc:picChg chg="add mod">
          <ac:chgData name="TIXIER Francois" userId="776a6eeb-52e0-4e7d-86f2-ecfd5b5be952" providerId="ADAL" clId="{3FAC9845-40ED-4A78-88C0-978C5F1535EF}" dt="2022-04-04T08:44:22.335" v="4053" actId="14100"/>
          <ac:picMkLst>
            <pc:docMk/>
            <pc:sldMk cId="2485879842" sldId="278"/>
            <ac:picMk id="18" creationId="{45656F82-E480-470B-8015-F952388DACC5}"/>
          </ac:picMkLst>
        </pc:picChg>
        <pc:picChg chg="add mod">
          <ac:chgData name="TIXIER Francois" userId="776a6eeb-52e0-4e7d-86f2-ecfd5b5be952" providerId="ADAL" clId="{3FAC9845-40ED-4A78-88C0-978C5F1535EF}" dt="2022-04-04T08:52:34.196" v="4087" actId="1076"/>
          <ac:picMkLst>
            <pc:docMk/>
            <pc:sldMk cId="2485879842" sldId="278"/>
            <ac:picMk id="19" creationId="{B940C45F-1C3F-485E-B2CD-F6FD24736581}"/>
          </ac:picMkLst>
        </pc:picChg>
        <pc:picChg chg="add del mod">
          <ac:chgData name="TIXIER Francois" userId="776a6eeb-52e0-4e7d-86f2-ecfd5b5be952" providerId="ADAL" clId="{3FAC9845-40ED-4A78-88C0-978C5F1535EF}" dt="2022-04-06T07:11:15.115" v="6352" actId="478"/>
          <ac:picMkLst>
            <pc:docMk/>
            <pc:sldMk cId="2485879842" sldId="278"/>
            <ac:picMk id="22" creationId="{CA312F42-A9A4-4CE0-8CC1-8E515453C03A}"/>
          </ac:picMkLst>
        </pc:picChg>
        <pc:picChg chg="add mod">
          <ac:chgData name="TIXIER Francois" userId="776a6eeb-52e0-4e7d-86f2-ecfd5b5be952" providerId="ADAL" clId="{3FAC9845-40ED-4A78-88C0-978C5F1535EF}" dt="2022-04-04T08:56:06.521" v="4094" actId="1076"/>
          <ac:picMkLst>
            <pc:docMk/>
            <pc:sldMk cId="2485879842" sldId="278"/>
            <ac:picMk id="24" creationId="{7A91C639-5919-458D-BE13-0841A37FDFBB}"/>
          </ac:picMkLst>
        </pc:picChg>
        <pc:picChg chg="add mod">
          <ac:chgData name="TIXIER Francois" userId="776a6eeb-52e0-4e7d-86f2-ecfd5b5be952" providerId="ADAL" clId="{3FAC9845-40ED-4A78-88C0-978C5F1535EF}" dt="2022-04-04T08:58:40.509" v="4098" actId="1076"/>
          <ac:picMkLst>
            <pc:docMk/>
            <pc:sldMk cId="2485879842" sldId="278"/>
            <ac:picMk id="26" creationId="{C88CAB2D-B029-44C0-9E16-327A4B04903E}"/>
          </ac:picMkLst>
        </pc:picChg>
        <pc:picChg chg="del">
          <ac:chgData name="TIXIER Francois" userId="776a6eeb-52e0-4e7d-86f2-ecfd5b5be952" providerId="ADAL" clId="{3FAC9845-40ED-4A78-88C0-978C5F1535EF}" dt="2022-04-04T08:39:44.643" v="3728" actId="478"/>
          <ac:picMkLst>
            <pc:docMk/>
            <pc:sldMk cId="2485879842" sldId="278"/>
            <ac:picMk id="39" creationId="{A73B9876-227B-4A6D-8940-825D4A8A1292}"/>
          </ac:picMkLst>
        </pc:picChg>
        <pc:picChg chg="del">
          <ac:chgData name="TIXIER Francois" userId="776a6eeb-52e0-4e7d-86f2-ecfd5b5be952" providerId="ADAL" clId="{3FAC9845-40ED-4A78-88C0-978C5F1535EF}" dt="2022-04-04T08:39:44.643" v="3728" actId="478"/>
          <ac:picMkLst>
            <pc:docMk/>
            <pc:sldMk cId="2485879842" sldId="278"/>
            <ac:picMk id="40" creationId="{A03F7DD7-4AC2-416A-9CB0-7B2A54BD9C0F}"/>
          </ac:picMkLst>
        </pc:picChg>
        <pc:picChg chg="del">
          <ac:chgData name="TIXIER Francois" userId="776a6eeb-52e0-4e7d-86f2-ecfd5b5be952" providerId="ADAL" clId="{3FAC9845-40ED-4A78-88C0-978C5F1535EF}" dt="2022-04-04T08:39:44.643" v="3728" actId="478"/>
          <ac:picMkLst>
            <pc:docMk/>
            <pc:sldMk cId="2485879842" sldId="278"/>
            <ac:picMk id="41" creationId="{BFBEDEB3-4629-422E-A74D-75FF70B61BDE}"/>
          </ac:picMkLst>
        </pc:picChg>
        <pc:picChg chg="del">
          <ac:chgData name="TIXIER Francois" userId="776a6eeb-52e0-4e7d-86f2-ecfd5b5be952" providerId="ADAL" clId="{3FAC9845-40ED-4A78-88C0-978C5F1535EF}" dt="2022-04-04T08:39:44.643" v="3728" actId="478"/>
          <ac:picMkLst>
            <pc:docMk/>
            <pc:sldMk cId="2485879842" sldId="278"/>
            <ac:picMk id="42" creationId="{CDE5D44A-0A31-4EC8-8C8F-A6F7B4659AB8}"/>
          </ac:picMkLst>
        </pc:picChg>
      </pc:sldChg>
      <pc:sldChg chg="addSp delSp modSp add mod">
        <pc:chgData name="TIXIER Francois" userId="776a6eeb-52e0-4e7d-86f2-ecfd5b5be952" providerId="ADAL" clId="{3FAC9845-40ED-4A78-88C0-978C5F1535EF}" dt="2022-04-13T09:23:42.950" v="6872" actId="20577"/>
        <pc:sldMkLst>
          <pc:docMk/>
          <pc:sldMk cId="263765170" sldId="279"/>
        </pc:sldMkLst>
        <pc:spChg chg="mod">
          <ac:chgData name="TIXIER Francois" userId="776a6eeb-52e0-4e7d-86f2-ecfd5b5be952" providerId="ADAL" clId="{3FAC9845-40ED-4A78-88C0-978C5F1535EF}" dt="2022-04-12T13:54:07.710" v="6774" actId="20577"/>
          <ac:spMkLst>
            <pc:docMk/>
            <pc:sldMk cId="263765170" sldId="279"/>
            <ac:spMk id="2" creationId="{22D24C96-7543-474E-B00F-BCD0EF9041EE}"/>
          </ac:spMkLst>
        </pc:spChg>
        <pc:spChg chg="add del mod">
          <ac:chgData name="TIXIER Francois" userId="776a6eeb-52e0-4e7d-86f2-ecfd5b5be952" providerId="ADAL" clId="{3FAC9845-40ED-4A78-88C0-978C5F1535EF}" dt="2022-04-12T13:26:57.137" v="6539" actId="478"/>
          <ac:spMkLst>
            <pc:docMk/>
            <pc:sldMk cId="263765170" sldId="279"/>
            <ac:spMk id="3" creationId="{D93CBE7C-3973-4403-8D6D-AF94EB67A01B}"/>
          </ac:spMkLst>
        </pc:spChg>
        <pc:spChg chg="mod">
          <ac:chgData name="TIXIER Francois" userId="776a6eeb-52e0-4e7d-86f2-ecfd5b5be952" providerId="ADAL" clId="{3FAC9845-40ED-4A78-88C0-978C5F1535EF}" dt="2022-04-13T09:23:42.950" v="6872" actId="20577"/>
          <ac:spMkLst>
            <pc:docMk/>
            <pc:sldMk cId="263765170" sldId="279"/>
            <ac:spMk id="6" creationId="{16AA4776-EF33-4C1F-B471-CADD54573F20}"/>
          </ac:spMkLst>
        </pc:spChg>
        <pc:spChg chg="mod">
          <ac:chgData name="TIXIER Francois" userId="776a6eeb-52e0-4e7d-86f2-ecfd5b5be952" providerId="ADAL" clId="{3FAC9845-40ED-4A78-88C0-978C5F1535EF}" dt="2022-04-12T14:04:45.311" v="6813" actId="6549"/>
          <ac:spMkLst>
            <pc:docMk/>
            <pc:sldMk cId="263765170" sldId="279"/>
            <ac:spMk id="11" creationId="{4310A109-750C-463C-A44F-CE0096C43ED2}"/>
          </ac:spMkLst>
        </pc:spChg>
        <pc:spChg chg="mod">
          <ac:chgData name="TIXIER Francois" userId="776a6eeb-52e0-4e7d-86f2-ecfd5b5be952" providerId="ADAL" clId="{3FAC9845-40ED-4A78-88C0-978C5F1535EF}" dt="2022-04-12T13:27:18.357" v="6548" actId="1038"/>
          <ac:spMkLst>
            <pc:docMk/>
            <pc:sldMk cId="263765170" sldId="279"/>
            <ac:spMk id="12" creationId="{181C4A69-1AE6-47F0-9224-EED317ADCD7D}"/>
          </ac:spMkLst>
        </pc:spChg>
        <pc:spChg chg="mod">
          <ac:chgData name="TIXIER Francois" userId="776a6eeb-52e0-4e7d-86f2-ecfd5b5be952" providerId="ADAL" clId="{3FAC9845-40ED-4A78-88C0-978C5F1535EF}" dt="2022-04-12T13:51:26.958" v="6762" actId="14100"/>
          <ac:spMkLst>
            <pc:docMk/>
            <pc:sldMk cId="263765170" sldId="279"/>
            <ac:spMk id="16" creationId="{ACE5363E-2F26-495D-B472-A2E8766DA8EC}"/>
          </ac:spMkLst>
        </pc:spChg>
        <pc:spChg chg="mod">
          <ac:chgData name="TIXIER Francois" userId="776a6eeb-52e0-4e7d-86f2-ecfd5b5be952" providerId="ADAL" clId="{3FAC9845-40ED-4A78-88C0-978C5F1535EF}" dt="2022-04-12T13:51:21.834" v="6761" actId="1036"/>
          <ac:spMkLst>
            <pc:docMk/>
            <pc:sldMk cId="263765170" sldId="279"/>
            <ac:spMk id="26" creationId="{0E3745F0-8EEF-4614-91BB-053B5DC50958}"/>
          </ac:spMkLst>
        </pc:spChg>
        <pc:grpChg chg="mod">
          <ac:chgData name="TIXIER Francois" userId="776a6eeb-52e0-4e7d-86f2-ecfd5b5be952" providerId="ADAL" clId="{3FAC9845-40ED-4A78-88C0-978C5F1535EF}" dt="2022-04-08T08:03:33.905" v="6426" actId="1076"/>
          <ac:grpSpMkLst>
            <pc:docMk/>
            <pc:sldMk cId="263765170" sldId="279"/>
            <ac:grpSpMk id="9" creationId="{DF805C03-3DB0-4E33-8643-C36C88AA3A9C}"/>
          </ac:grpSpMkLst>
        </pc:grpChg>
      </pc:sldChg>
      <pc:sldChg chg="addSp delSp modSp add mod">
        <pc:chgData name="TIXIER Francois" userId="776a6eeb-52e0-4e7d-86f2-ecfd5b5be952" providerId="ADAL" clId="{3FAC9845-40ED-4A78-88C0-978C5F1535EF}" dt="2022-04-13T09:24:40.061" v="6880" actId="1076"/>
        <pc:sldMkLst>
          <pc:docMk/>
          <pc:sldMk cId="2706805019" sldId="280"/>
        </pc:sldMkLst>
        <pc:spChg chg="mod">
          <ac:chgData name="TIXIER Francois" userId="776a6eeb-52e0-4e7d-86f2-ecfd5b5be952" providerId="ADAL" clId="{3FAC9845-40ED-4A78-88C0-978C5F1535EF}" dt="2022-04-08T08:30:31.645" v="6527" actId="20577"/>
          <ac:spMkLst>
            <pc:docMk/>
            <pc:sldMk cId="2706805019" sldId="280"/>
            <ac:spMk id="28" creationId="{BCBCDAAA-8842-41E4-A052-EBB1A2800086}"/>
          </ac:spMkLst>
        </pc:spChg>
        <pc:spChg chg="add del mod">
          <ac:chgData name="TIXIER Francois" userId="776a6eeb-52e0-4e7d-86f2-ecfd5b5be952" providerId="ADAL" clId="{3FAC9845-40ED-4A78-88C0-978C5F1535EF}" dt="2022-04-12T13:51:49.634" v="6763" actId="478"/>
          <ac:spMkLst>
            <pc:docMk/>
            <pc:sldMk cId="2706805019" sldId="280"/>
            <ac:spMk id="29" creationId="{8C3AC45E-0EED-4869-B687-5F7AC3FAB577}"/>
          </ac:spMkLst>
        </pc:spChg>
        <pc:spChg chg="mod">
          <ac:chgData name="TIXIER Francois" userId="776a6eeb-52e0-4e7d-86f2-ecfd5b5be952" providerId="ADAL" clId="{3FAC9845-40ED-4A78-88C0-978C5F1535EF}" dt="2022-04-12T13:52:17.648" v="6769" actId="20577"/>
          <ac:spMkLst>
            <pc:docMk/>
            <pc:sldMk cId="2706805019" sldId="280"/>
            <ac:spMk id="37" creationId="{6EC800BA-8275-4F26-BBD6-721A77B7F255}"/>
          </ac:spMkLst>
        </pc:spChg>
        <pc:picChg chg="del">
          <ac:chgData name="TIXIER Francois" userId="776a6eeb-52e0-4e7d-86f2-ecfd5b5be952" providerId="ADAL" clId="{3FAC9845-40ED-4A78-88C0-978C5F1535EF}" dt="2022-04-13T07:31:27.117" v="6836" actId="478"/>
          <ac:picMkLst>
            <pc:docMk/>
            <pc:sldMk cId="2706805019" sldId="280"/>
            <ac:picMk id="13" creationId="{F5D6379B-C776-462B-B040-6D6226D127BE}"/>
          </ac:picMkLst>
        </pc:picChg>
        <pc:picChg chg="add mod">
          <ac:chgData name="TIXIER Francois" userId="776a6eeb-52e0-4e7d-86f2-ecfd5b5be952" providerId="ADAL" clId="{3FAC9845-40ED-4A78-88C0-978C5F1535EF}" dt="2022-04-13T09:24:40.061" v="6880" actId="1076"/>
          <ac:picMkLst>
            <pc:docMk/>
            <pc:sldMk cId="2706805019" sldId="280"/>
            <ac:picMk id="21" creationId="{0514A5C7-C30B-4199-8907-B52BF4F2C105}"/>
          </ac:picMkLst>
        </pc:picChg>
        <pc:picChg chg="add del mod">
          <ac:chgData name="TIXIER Francois" userId="776a6eeb-52e0-4e7d-86f2-ecfd5b5be952" providerId="ADAL" clId="{3FAC9845-40ED-4A78-88C0-978C5F1535EF}" dt="2022-04-13T09:24:21.960" v="6873" actId="478"/>
          <ac:picMkLst>
            <pc:docMk/>
            <pc:sldMk cId="2706805019" sldId="280"/>
            <ac:picMk id="22" creationId="{76A7EDCD-8D56-450F-9FAD-D42CC7923AE0}"/>
          </ac:picMkLst>
        </pc:picChg>
      </pc:sldChg>
    </pc:docChg>
  </pc:docChgLst>
  <pc:docChgLst>
    <pc:chgData name="TIXIER Francois" userId="776a6eeb-52e0-4e7d-86f2-ecfd5b5be952" providerId="ADAL" clId="{C3F7E1B1-79B0-4EBD-AF79-6287C400C729}"/>
    <pc:docChg chg="undo redo custSel addSld delSld modSld">
      <pc:chgData name="TIXIER Francois" userId="776a6eeb-52e0-4e7d-86f2-ecfd5b5be952" providerId="ADAL" clId="{C3F7E1B1-79B0-4EBD-AF79-6287C400C729}" dt="2022-02-24T13:26:29.285" v="2737" actId="20577"/>
      <pc:docMkLst>
        <pc:docMk/>
      </pc:docMkLst>
      <pc:sldChg chg="addSp delSp modSp mod">
        <pc:chgData name="TIXIER Francois" userId="776a6eeb-52e0-4e7d-86f2-ecfd5b5be952" providerId="ADAL" clId="{C3F7E1B1-79B0-4EBD-AF79-6287C400C729}" dt="2022-02-23T14:31:47.936" v="2569" actId="20577"/>
        <pc:sldMkLst>
          <pc:docMk/>
          <pc:sldMk cId="3961122517" sldId="267"/>
        </pc:sldMkLst>
        <pc:spChg chg="del">
          <ac:chgData name="TIXIER Francois" userId="776a6eeb-52e0-4e7d-86f2-ecfd5b5be952" providerId="ADAL" clId="{C3F7E1B1-79B0-4EBD-AF79-6287C400C729}" dt="2022-02-23T10:45:45.283" v="584" actId="478"/>
          <ac:spMkLst>
            <pc:docMk/>
            <pc:sldMk cId="3961122517" sldId="267"/>
            <ac:spMk id="7" creationId="{6DAD6A87-86B5-4E9A-BC20-64FD48DEAA10}"/>
          </ac:spMkLst>
        </pc:spChg>
        <pc:spChg chg="mod">
          <ac:chgData name="TIXIER Francois" userId="776a6eeb-52e0-4e7d-86f2-ecfd5b5be952" providerId="ADAL" clId="{C3F7E1B1-79B0-4EBD-AF79-6287C400C729}" dt="2022-02-23T14:02:01.846" v="2548" actId="1076"/>
          <ac:spMkLst>
            <pc:docMk/>
            <pc:sldMk cId="3961122517" sldId="267"/>
            <ac:spMk id="8" creationId="{D4B20E88-B586-4A4B-BF6D-11604951AC21}"/>
          </ac:spMkLst>
        </pc:spChg>
        <pc:spChg chg="mod">
          <ac:chgData name="TIXIER Francois" userId="776a6eeb-52e0-4e7d-86f2-ecfd5b5be952" providerId="ADAL" clId="{C3F7E1B1-79B0-4EBD-AF79-6287C400C729}" dt="2022-02-23T14:31:47.936" v="2569" actId="20577"/>
          <ac:spMkLst>
            <pc:docMk/>
            <pc:sldMk cId="3961122517" sldId="267"/>
            <ac:spMk id="11" creationId="{4310A109-750C-463C-A44F-CE0096C43ED2}"/>
          </ac:spMkLst>
        </pc:spChg>
        <pc:spChg chg="mod">
          <ac:chgData name="TIXIER Francois" userId="776a6eeb-52e0-4e7d-86f2-ecfd5b5be952" providerId="ADAL" clId="{C3F7E1B1-79B0-4EBD-AF79-6287C400C729}" dt="2022-02-23T10:46:18.861" v="588" actId="113"/>
          <ac:spMkLst>
            <pc:docMk/>
            <pc:sldMk cId="3961122517" sldId="267"/>
            <ac:spMk id="16" creationId="{3A1AEA27-126A-4AC2-BD3C-3150E8CA0ADC}"/>
          </ac:spMkLst>
        </pc:spChg>
        <pc:spChg chg="del">
          <ac:chgData name="TIXIER Francois" userId="776a6eeb-52e0-4e7d-86f2-ecfd5b5be952" providerId="ADAL" clId="{C3F7E1B1-79B0-4EBD-AF79-6287C400C729}" dt="2022-02-23T10:45:53.124" v="585" actId="478"/>
          <ac:spMkLst>
            <pc:docMk/>
            <pc:sldMk cId="3961122517" sldId="267"/>
            <ac:spMk id="17" creationId="{CFFF26F2-D244-4079-9541-81075F1E569F}"/>
          </ac:spMkLst>
        </pc:spChg>
        <pc:spChg chg="mod">
          <ac:chgData name="TIXIER Francois" userId="776a6eeb-52e0-4e7d-86f2-ecfd5b5be952" providerId="ADAL" clId="{C3F7E1B1-79B0-4EBD-AF79-6287C400C729}" dt="2022-02-23T14:01:59.651" v="2547" actId="1076"/>
          <ac:spMkLst>
            <pc:docMk/>
            <pc:sldMk cId="3961122517" sldId="267"/>
            <ac:spMk id="18" creationId="{B7BFA590-74AE-4831-88EB-B0F6462CA88C}"/>
          </ac:spMkLst>
        </pc:spChg>
        <pc:spChg chg="mod">
          <ac:chgData name="TIXIER Francois" userId="776a6eeb-52e0-4e7d-86f2-ecfd5b5be952" providerId="ADAL" clId="{C3F7E1B1-79B0-4EBD-AF79-6287C400C729}" dt="2022-02-23T14:01:56.559" v="2546" actId="122"/>
          <ac:spMkLst>
            <pc:docMk/>
            <pc:sldMk cId="3961122517" sldId="267"/>
            <ac:spMk id="20" creationId="{406B854E-F8CB-4D82-95F5-3EA39D6BDA07}"/>
          </ac:spMkLst>
        </pc:spChg>
        <pc:spChg chg="del">
          <ac:chgData name="TIXIER Francois" userId="776a6eeb-52e0-4e7d-86f2-ecfd5b5be952" providerId="ADAL" clId="{C3F7E1B1-79B0-4EBD-AF79-6287C400C729}" dt="2022-02-23T10:45:45.283" v="584" actId="478"/>
          <ac:spMkLst>
            <pc:docMk/>
            <pc:sldMk cId="3961122517" sldId="267"/>
            <ac:spMk id="28" creationId="{A6425429-E2A2-4A83-8450-604E56F590F7}"/>
          </ac:spMkLst>
        </pc:spChg>
        <pc:picChg chg="add mod">
          <ac:chgData name="TIXIER Francois" userId="776a6eeb-52e0-4e7d-86f2-ecfd5b5be952" providerId="ADAL" clId="{C3F7E1B1-79B0-4EBD-AF79-6287C400C729}" dt="2022-02-23T14:02:07.111" v="2550" actId="14100"/>
          <ac:picMkLst>
            <pc:docMk/>
            <pc:sldMk cId="3961122517" sldId="267"/>
            <ac:picMk id="4" creationId="{594E31ED-18FC-4B9B-870A-2B6C812DE3BF}"/>
          </ac:picMkLst>
        </pc:picChg>
        <pc:picChg chg="del">
          <ac:chgData name="TIXIER Francois" userId="776a6eeb-52e0-4e7d-86f2-ecfd5b5be952" providerId="ADAL" clId="{C3F7E1B1-79B0-4EBD-AF79-6287C400C729}" dt="2022-02-23T14:01:20.828" v="2534" actId="478"/>
          <ac:picMkLst>
            <pc:docMk/>
            <pc:sldMk cId="3961122517" sldId="267"/>
            <ac:picMk id="6" creationId="{0EFB21A8-C634-4FB9-B939-DC2A4621E7E2}"/>
          </ac:picMkLst>
        </pc:picChg>
        <pc:picChg chg="del">
          <ac:chgData name="TIXIER Francois" userId="776a6eeb-52e0-4e7d-86f2-ecfd5b5be952" providerId="ADAL" clId="{C3F7E1B1-79B0-4EBD-AF79-6287C400C729}" dt="2022-02-23T10:45:53.124" v="585" actId="478"/>
          <ac:picMkLst>
            <pc:docMk/>
            <pc:sldMk cId="3961122517" sldId="267"/>
            <ac:picMk id="15" creationId="{3BC19135-795A-47D0-875E-4A9190FBB7D0}"/>
          </ac:picMkLst>
        </pc:picChg>
        <pc:picChg chg="del">
          <ac:chgData name="TIXIER Francois" userId="776a6eeb-52e0-4e7d-86f2-ecfd5b5be952" providerId="ADAL" clId="{C3F7E1B1-79B0-4EBD-AF79-6287C400C729}" dt="2022-02-23T10:45:45.283" v="584" actId="478"/>
          <ac:picMkLst>
            <pc:docMk/>
            <pc:sldMk cId="3961122517" sldId="267"/>
            <ac:picMk id="27" creationId="{C7EDE818-5038-4F5A-B9E7-3C38B1991DE9}"/>
          </ac:picMkLst>
        </pc:picChg>
      </pc:sldChg>
      <pc:sldChg chg="modSp mod">
        <pc:chgData name="TIXIER Francois" userId="776a6eeb-52e0-4e7d-86f2-ecfd5b5be952" providerId="ADAL" clId="{C3F7E1B1-79B0-4EBD-AF79-6287C400C729}" dt="2022-02-22T14:18:25.527" v="583" actId="1076"/>
        <pc:sldMkLst>
          <pc:docMk/>
          <pc:sldMk cId="489060114" sldId="268"/>
        </pc:sldMkLst>
        <pc:spChg chg="mod">
          <ac:chgData name="TIXIER Francois" userId="776a6eeb-52e0-4e7d-86f2-ecfd5b5be952" providerId="ADAL" clId="{C3F7E1B1-79B0-4EBD-AF79-6287C400C729}" dt="2022-02-22T14:18:25.527" v="583" actId="1076"/>
          <ac:spMkLst>
            <pc:docMk/>
            <pc:sldMk cId="489060114" sldId="268"/>
            <ac:spMk id="88" creationId="{B3A177A3-7111-4ACE-863F-7FBB6FD6FC81}"/>
          </ac:spMkLst>
        </pc:spChg>
      </pc:sldChg>
      <pc:sldChg chg="del">
        <pc:chgData name="TIXIER Francois" userId="776a6eeb-52e0-4e7d-86f2-ecfd5b5be952" providerId="ADAL" clId="{C3F7E1B1-79B0-4EBD-AF79-6287C400C729}" dt="2022-02-22T10:28:20.855" v="0" actId="47"/>
        <pc:sldMkLst>
          <pc:docMk/>
          <pc:sldMk cId="1258515481" sldId="274"/>
        </pc:sldMkLst>
      </pc:sldChg>
      <pc:sldChg chg="modSp mod">
        <pc:chgData name="TIXIER Francois" userId="776a6eeb-52e0-4e7d-86f2-ecfd5b5be952" providerId="ADAL" clId="{C3F7E1B1-79B0-4EBD-AF79-6287C400C729}" dt="2022-02-23T12:17:44.195" v="2523" actId="1076"/>
        <pc:sldMkLst>
          <pc:docMk/>
          <pc:sldMk cId="2359043163" sldId="275"/>
        </pc:sldMkLst>
        <pc:spChg chg="mod">
          <ac:chgData name="TIXIER Francois" userId="776a6eeb-52e0-4e7d-86f2-ecfd5b5be952" providerId="ADAL" clId="{C3F7E1B1-79B0-4EBD-AF79-6287C400C729}" dt="2022-02-23T12:17:44.195" v="2523" actId="1076"/>
          <ac:spMkLst>
            <pc:docMk/>
            <pc:sldMk cId="2359043163" sldId="275"/>
            <ac:spMk id="44" creationId="{7AA184DC-254F-4416-8346-E5FCF602478F}"/>
          </ac:spMkLst>
        </pc:spChg>
      </pc:sldChg>
      <pc:sldChg chg="del">
        <pc:chgData name="TIXIER Francois" userId="776a6eeb-52e0-4e7d-86f2-ecfd5b5be952" providerId="ADAL" clId="{C3F7E1B1-79B0-4EBD-AF79-6287C400C729}" dt="2022-02-23T12:15:26.093" v="2372" actId="47"/>
        <pc:sldMkLst>
          <pc:docMk/>
          <pc:sldMk cId="2995851474" sldId="276"/>
        </pc:sldMkLst>
      </pc:sldChg>
      <pc:sldChg chg="addSp delSp modSp mod">
        <pc:chgData name="TIXIER Francois" userId="776a6eeb-52e0-4e7d-86f2-ecfd5b5be952" providerId="ADAL" clId="{C3F7E1B1-79B0-4EBD-AF79-6287C400C729}" dt="2022-02-24T13:26:29.285" v="2737" actId="20577"/>
        <pc:sldMkLst>
          <pc:docMk/>
          <pc:sldMk cId="1476074115" sldId="277"/>
        </pc:sldMkLst>
        <pc:spChg chg="mod">
          <ac:chgData name="TIXIER Francois" userId="776a6eeb-52e0-4e7d-86f2-ecfd5b5be952" providerId="ADAL" clId="{C3F7E1B1-79B0-4EBD-AF79-6287C400C729}" dt="2022-02-23T12:16:20.453" v="2427" actId="1036"/>
          <ac:spMkLst>
            <pc:docMk/>
            <pc:sldMk cId="1476074115" sldId="277"/>
            <ac:spMk id="12" creationId="{9CF97F6C-8097-4257-B565-17B87CE122D8}"/>
          </ac:spMkLst>
        </pc:spChg>
        <pc:spChg chg="mod">
          <ac:chgData name="TIXIER Francois" userId="776a6eeb-52e0-4e7d-86f2-ecfd5b5be952" providerId="ADAL" clId="{C3F7E1B1-79B0-4EBD-AF79-6287C400C729}" dt="2022-02-23T12:16:26.440" v="2428" actId="1076"/>
          <ac:spMkLst>
            <pc:docMk/>
            <pc:sldMk cId="1476074115" sldId="277"/>
            <ac:spMk id="16" creationId="{6BFB27D8-8046-4A6A-AB23-813A4EAE2312}"/>
          </ac:spMkLst>
        </pc:spChg>
        <pc:spChg chg="mod">
          <ac:chgData name="TIXIER Francois" userId="776a6eeb-52e0-4e7d-86f2-ecfd5b5be952" providerId="ADAL" clId="{C3F7E1B1-79B0-4EBD-AF79-6287C400C729}" dt="2022-02-23T12:16:32.074" v="2434" actId="1036"/>
          <ac:spMkLst>
            <pc:docMk/>
            <pc:sldMk cId="1476074115" sldId="277"/>
            <ac:spMk id="19" creationId="{A42E2475-3DFF-4A21-82C8-AAC8B374FAA2}"/>
          </ac:spMkLst>
        </pc:spChg>
        <pc:spChg chg="mod">
          <ac:chgData name="TIXIER Francois" userId="776a6eeb-52e0-4e7d-86f2-ecfd5b5be952" providerId="ADAL" clId="{C3F7E1B1-79B0-4EBD-AF79-6287C400C729}" dt="2022-02-23T12:16:09.838" v="2415" actId="1036"/>
          <ac:spMkLst>
            <pc:docMk/>
            <pc:sldMk cId="1476074115" sldId="277"/>
            <ac:spMk id="20" creationId="{284448F8-4BD4-4E05-920E-DFEB2B527541}"/>
          </ac:spMkLst>
        </pc:spChg>
        <pc:spChg chg="mod">
          <ac:chgData name="TIXIER Francois" userId="776a6eeb-52e0-4e7d-86f2-ecfd5b5be952" providerId="ADAL" clId="{C3F7E1B1-79B0-4EBD-AF79-6287C400C729}" dt="2022-02-23T12:15:56.400" v="2399" actId="1036"/>
          <ac:spMkLst>
            <pc:docMk/>
            <pc:sldMk cId="1476074115" sldId="277"/>
            <ac:spMk id="21" creationId="{9B7193B3-1266-43CF-B0E8-EFA948A66036}"/>
          </ac:spMkLst>
        </pc:spChg>
        <pc:spChg chg="mod">
          <ac:chgData name="TIXIER Francois" userId="776a6eeb-52e0-4e7d-86f2-ecfd5b5be952" providerId="ADAL" clId="{C3F7E1B1-79B0-4EBD-AF79-6287C400C729}" dt="2022-02-23T12:16:20.453" v="2427" actId="1036"/>
          <ac:spMkLst>
            <pc:docMk/>
            <pc:sldMk cId="1476074115" sldId="277"/>
            <ac:spMk id="23" creationId="{74CB6974-CA29-4141-80AB-0BBD4C1A6B82}"/>
          </ac:spMkLst>
        </pc:spChg>
        <pc:spChg chg="add mod">
          <ac:chgData name="TIXIER Francois" userId="776a6eeb-52e0-4e7d-86f2-ecfd5b5be952" providerId="ADAL" clId="{C3F7E1B1-79B0-4EBD-AF79-6287C400C729}" dt="2022-02-23T12:16:32.074" v="2434" actId="1036"/>
          <ac:spMkLst>
            <pc:docMk/>
            <pc:sldMk cId="1476074115" sldId="277"/>
            <ac:spMk id="27" creationId="{CC1FDFB4-E8C1-4D0E-A973-1EFFF4D9DD29}"/>
          </ac:spMkLst>
        </pc:spChg>
        <pc:spChg chg="add mod">
          <ac:chgData name="TIXIER Francois" userId="776a6eeb-52e0-4e7d-86f2-ecfd5b5be952" providerId="ADAL" clId="{C3F7E1B1-79B0-4EBD-AF79-6287C400C729}" dt="2022-02-23T12:16:09.838" v="2415" actId="1036"/>
          <ac:spMkLst>
            <pc:docMk/>
            <pc:sldMk cId="1476074115" sldId="277"/>
            <ac:spMk id="30" creationId="{EB8CCCE9-B9E6-4A64-A0DC-BBAFC3AE327A}"/>
          </ac:spMkLst>
        </pc:spChg>
        <pc:spChg chg="mod">
          <ac:chgData name="TIXIER Francois" userId="776a6eeb-52e0-4e7d-86f2-ecfd5b5be952" providerId="ADAL" clId="{C3F7E1B1-79B0-4EBD-AF79-6287C400C729}" dt="2022-02-24T13:26:29.285" v="2737" actId="20577"/>
          <ac:spMkLst>
            <pc:docMk/>
            <pc:sldMk cId="1476074115" sldId="277"/>
            <ac:spMk id="31" creationId="{E2389E06-C745-4B69-9DF3-4C0214E358B7}"/>
          </ac:spMkLst>
        </pc:spChg>
        <pc:spChg chg="del mod">
          <ac:chgData name="TIXIER Francois" userId="776a6eeb-52e0-4e7d-86f2-ecfd5b5be952" providerId="ADAL" clId="{C3F7E1B1-79B0-4EBD-AF79-6287C400C729}" dt="2022-02-23T10:53:30.315" v="729" actId="478"/>
          <ac:spMkLst>
            <pc:docMk/>
            <pc:sldMk cId="1476074115" sldId="277"/>
            <ac:spMk id="32" creationId="{4BAC57E4-ADF6-47FB-8F87-A163EB1A1B25}"/>
          </ac:spMkLst>
        </pc:spChg>
        <pc:spChg chg="mod">
          <ac:chgData name="TIXIER Francois" userId="776a6eeb-52e0-4e7d-86f2-ecfd5b5be952" providerId="ADAL" clId="{C3F7E1B1-79B0-4EBD-AF79-6287C400C729}" dt="2022-02-23T14:34:26.458" v="2682" actId="1076"/>
          <ac:spMkLst>
            <pc:docMk/>
            <pc:sldMk cId="1476074115" sldId="277"/>
            <ac:spMk id="33" creationId="{8E714608-1501-4542-9180-64C12E5D9A18}"/>
          </ac:spMkLst>
        </pc:spChg>
        <pc:spChg chg="mod">
          <ac:chgData name="TIXIER Francois" userId="776a6eeb-52e0-4e7d-86f2-ecfd5b5be952" providerId="ADAL" clId="{C3F7E1B1-79B0-4EBD-AF79-6287C400C729}" dt="2022-02-23T12:15:04.095" v="2371" actId="1076"/>
          <ac:spMkLst>
            <pc:docMk/>
            <pc:sldMk cId="1476074115" sldId="277"/>
            <ac:spMk id="34" creationId="{76F101FC-112B-4E1B-9FA5-AB16AE08ECD7}"/>
          </ac:spMkLst>
        </pc:spChg>
        <pc:spChg chg="add mod">
          <ac:chgData name="TIXIER Francois" userId="776a6eeb-52e0-4e7d-86f2-ecfd5b5be952" providerId="ADAL" clId="{C3F7E1B1-79B0-4EBD-AF79-6287C400C729}" dt="2022-02-23T12:16:32.074" v="2434" actId="1036"/>
          <ac:spMkLst>
            <pc:docMk/>
            <pc:sldMk cId="1476074115" sldId="277"/>
            <ac:spMk id="35" creationId="{A67FF991-B37A-4259-9A4F-D085AA20D17F}"/>
          </ac:spMkLst>
        </pc:spChg>
        <pc:spChg chg="add mod">
          <ac:chgData name="TIXIER Francois" userId="776a6eeb-52e0-4e7d-86f2-ecfd5b5be952" providerId="ADAL" clId="{C3F7E1B1-79B0-4EBD-AF79-6287C400C729}" dt="2022-02-23T12:16:20.453" v="2427" actId="1036"/>
          <ac:spMkLst>
            <pc:docMk/>
            <pc:sldMk cId="1476074115" sldId="277"/>
            <ac:spMk id="36" creationId="{72BBCA43-3DB0-4FC0-A72C-52F23A6068EC}"/>
          </ac:spMkLst>
        </pc:spChg>
        <pc:spChg chg="del mod">
          <ac:chgData name="TIXIER Francois" userId="776a6eeb-52e0-4e7d-86f2-ecfd5b5be952" providerId="ADAL" clId="{C3F7E1B1-79B0-4EBD-AF79-6287C400C729}" dt="2022-02-23T12:05:19.881" v="2217" actId="478"/>
          <ac:spMkLst>
            <pc:docMk/>
            <pc:sldMk cId="1476074115" sldId="277"/>
            <ac:spMk id="37" creationId="{8D848269-D02D-43B0-8D38-BE24DB4E1578}"/>
          </ac:spMkLst>
        </pc:spChg>
        <pc:spChg chg="add del">
          <ac:chgData name="TIXIER Francois" userId="776a6eeb-52e0-4e7d-86f2-ecfd5b5be952" providerId="ADAL" clId="{C3F7E1B1-79B0-4EBD-AF79-6287C400C729}" dt="2022-02-23T11:50:21.540" v="1077" actId="22"/>
          <ac:spMkLst>
            <pc:docMk/>
            <pc:sldMk cId="1476074115" sldId="277"/>
            <ac:spMk id="39" creationId="{43AB7CCC-0783-4A63-B5B5-7211CACBB8D2}"/>
          </ac:spMkLst>
        </pc:spChg>
        <pc:spChg chg="add del">
          <ac:chgData name="TIXIER Francois" userId="776a6eeb-52e0-4e7d-86f2-ecfd5b5be952" providerId="ADAL" clId="{C3F7E1B1-79B0-4EBD-AF79-6287C400C729}" dt="2022-02-23T11:50:26.483" v="1079" actId="478"/>
          <ac:spMkLst>
            <pc:docMk/>
            <pc:sldMk cId="1476074115" sldId="277"/>
            <ac:spMk id="40" creationId="{64CCB372-D487-461B-AA11-7B44AD795424}"/>
          </ac:spMkLst>
        </pc:spChg>
        <pc:spChg chg="add mod">
          <ac:chgData name="TIXIER Francois" userId="776a6eeb-52e0-4e7d-86f2-ecfd5b5be952" providerId="ADAL" clId="{C3F7E1B1-79B0-4EBD-AF79-6287C400C729}" dt="2022-02-23T14:34:57.863" v="2729" actId="20577"/>
          <ac:spMkLst>
            <pc:docMk/>
            <pc:sldMk cId="1476074115" sldId="277"/>
            <ac:spMk id="41" creationId="{5364CC7F-ECBA-46DE-B32D-F7A87F6E45E1}"/>
          </ac:spMkLst>
        </pc:spChg>
        <pc:spChg chg="add mod">
          <ac:chgData name="TIXIER Francois" userId="776a6eeb-52e0-4e7d-86f2-ecfd5b5be952" providerId="ADAL" clId="{C3F7E1B1-79B0-4EBD-AF79-6287C400C729}" dt="2022-02-23T12:15:04.095" v="2371" actId="1076"/>
          <ac:spMkLst>
            <pc:docMk/>
            <pc:sldMk cId="1476074115" sldId="277"/>
            <ac:spMk id="42" creationId="{2A282941-57E6-4457-8B3D-48654FF9853F}"/>
          </ac:spMkLst>
        </pc:spChg>
        <pc:spChg chg="add mod">
          <ac:chgData name="TIXIER Francois" userId="776a6eeb-52e0-4e7d-86f2-ecfd5b5be952" providerId="ADAL" clId="{C3F7E1B1-79B0-4EBD-AF79-6287C400C729}" dt="2022-02-23T12:15:04.095" v="2371" actId="1076"/>
          <ac:spMkLst>
            <pc:docMk/>
            <pc:sldMk cId="1476074115" sldId="277"/>
            <ac:spMk id="45" creationId="{6DA904BF-8B04-4FBB-AE4A-F3B8978E441D}"/>
          </ac:spMkLst>
        </pc:spChg>
        <pc:spChg chg="add mod">
          <ac:chgData name="TIXIER Francois" userId="776a6eeb-52e0-4e7d-86f2-ecfd5b5be952" providerId="ADAL" clId="{C3F7E1B1-79B0-4EBD-AF79-6287C400C729}" dt="2022-02-23T12:16:09.838" v="2415" actId="1036"/>
          <ac:spMkLst>
            <pc:docMk/>
            <pc:sldMk cId="1476074115" sldId="277"/>
            <ac:spMk id="48" creationId="{E88A8488-ADC8-481C-BA0C-4FBD9EC1F281}"/>
          </ac:spMkLst>
        </pc:spChg>
        <pc:spChg chg="add mod">
          <ac:chgData name="TIXIER Francois" userId="776a6eeb-52e0-4e7d-86f2-ecfd5b5be952" providerId="ADAL" clId="{C3F7E1B1-79B0-4EBD-AF79-6287C400C729}" dt="2022-02-23T12:16:09.838" v="2415" actId="1036"/>
          <ac:spMkLst>
            <pc:docMk/>
            <pc:sldMk cId="1476074115" sldId="277"/>
            <ac:spMk id="49" creationId="{5C7D54C8-CDDB-41BA-B4FC-1D61E03FBF1B}"/>
          </ac:spMkLst>
        </pc:spChg>
        <pc:spChg chg="add mod">
          <ac:chgData name="TIXIER Francois" userId="776a6eeb-52e0-4e7d-86f2-ecfd5b5be952" providerId="ADAL" clId="{C3F7E1B1-79B0-4EBD-AF79-6287C400C729}" dt="2022-02-23T12:16:01.052" v="2401" actId="1036"/>
          <ac:spMkLst>
            <pc:docMk/>
            <pc:sldMk cId="1476074115" sldId="277"/>
            <ac:spMk id="50" creationId="{1FA90112-11E2-4510-9681-BE8E70C2DF92}"/>
          </ac:spMkLst>
        </pc:spChg>
        <pc:spChg chg="add mod">
          <ac:chgData name="TIXIER Francois" userId="776a6eeb-52e0-4e7d-86f2-ecfd5b5be952" providerId="ADAL" clId="{C3F7E1B1-79B0-4EBD-AF79-6287C400C729}" dt="2022-02-23T12:15:04.095" v="2371" actId="1076"/>
          <ac:spMkLst>
            <pc:docMk/>
            <pc:sldMk cId="1476074115" sldId="277"/>
            <ac:spMk id="51" creationId="{9858ABA8-AF0F-424E-9C3A-BC18911D37F8}"/>
          </ac:spMkLst>
        </pc:spChg>
        <pc:picChg chg="add mod">
          <ac:chgData name="TIXIER Francois" userId="776a6eeb-52e0-4e7d-86f2-ecfd5b5be952" providerId="ADAL" clId="{C3F7E1B1-79B0-4EBD-AF79-6287C400C729}" dt="2022-02-23T12:16:09.838" v="2415" actId="1036"/>
          <ac:picMkLst>
            <pc:docMk/>
            <pc:sldMk cId="1476074115" sldId="277"/>
            <ac:picMk id="3" creationId="{B9681068-74D6-4CDA-BC49-BC0D868AF05F}"/>
          </ac:picMkLst>
        </pc:picChg>
        <pc:picChg chg="del">
          <ac:chgData name="TIXIER Francois" userId="776a6eeb-52e0-4e7d-86f2-ecfd5b5be952" providerId="ADAL" clId="{C3F7E1B1-79B0-4EBD-AF79-6287C400C729}" dt="2022-02-23T12:08:06.522" v="2287" actId="478"/>
          <ac:picMkLst>
            <pc:docMk/>
            <pc:sldMk cId="1476074115" sldId="277"/>
            <ac:picMk id="4" creationId="{8915CA11-E75B-4E2B-82F9-8BD9F5B4B4C2}"/>
          </ac:picMkLst>
        </pc:picChg>
        <pc:picChg chg="add del mod">
          <ac:chgData name="TIXIER Francois" userId="776a6eeb-52e0-4e7d-86f2-ecfd5b5be952" providerId="ADAL" clId="{C3F7E1B1-79B0-4EBD-AF79-6287C400C729}" dt="2022-02-23T12:07:57.647" v="2286" actId="478"/>
          <ac:picMkLst>
            <pc:docMk/>
            <pc:sldMk cId="1476074115" sldId="277"/>
            <ac:picMk id="6" creationId="{06B7BDE7-188E-4A50-A1AC-D30C6565557C}"/>
          </ac:picMkLst>
        </pc:picChg>
        <pc:picChg chg="add mod">
          <ac:chgData name="TIXIER Francois" userId="776a6eeb-52e0-4e7d-86f2-ecfd5b5be952" providerId="ADAL" clId="{C3F7E1B1-79B0-4EBD-AF79-6287C400C729}" dt="2022-02-23T12:16:32.074" v="2434" actId="1036"/>
          <ac:picMkLst>
            <pc:docMk/>
            <pc:sldMk cId="1476074115" sldId="277"/>
            <ac:picMk id="8" creationId="{1BC77875-0BF3-4CF1-8611-BE77B1F7E833}"/>
          </ac:picMkLst>
        </pc:picChg>
        <pc:picChg chg="add mod">
          <ac:chgData name="TIXIER Francois" userId="776a6eeb-52e0-4e7d-86f2-ecfd5b5be952" providerId="ADAL" clId="{C3F7E1B1-79B0-4EBD-AF79-6287C400C729}" dt="2022-02-23T12:16:20.453" v="2427" actId="1036"/>
          <ac:picMkLst>
            <pc:docMk/>
            <pc:sldMk cId="1476074115" sldId="277"/>
            <ac:picMk id="13" creationId="{B15F524A-BC6F-4F74-BAF2-13F8C493CCFC}"/>
          </ac:picMkLst>
        </pc:picChg>
        <pc:picChg chg="add del mod">
          <ac:chgData name="TIXIER Francois" userId="776a6eeb-52e0-4e7d-86f2-ecfd5b5be952" providerId="ADAL" clId="{C3F7E1B1-79B0-4EBD-AF79-6287C400C729}" dt="2022-02-23T10:52:47.113" v="701" actId="478"/>
          <ac:picMkLst>
            <pc:docMk/>
            <pc:sldMk cId="1476074115" sldId="277"/>
            <ac:picMk id="18" creationId="{B319EA17-3EC9-417D-9F04-D1EFEB8DAF4D}"/>
          </ac:picMkLst>
        </pc:picChg>
        <pc:picChg chg="add mod">
          <ac:chgData name="TIXIER Francois" userId="776a6eeb-52e0-4e7d-86f2-ecfd5b5be952" providerId="ADAL" clId="{C3F7E1B1-79B0-4EBD-AF79-6287C400C729}" dt="2022-02-23T12:15:04.095" v="2371" actId="1076"/>
          <ac:picMkLst>
            <pc:docMk/>
            <pc:sldMk cId="1476074115" sldId="277"/>
            <ac:picMk id="24" creationId="{2AA2AE77-09D2-42CB-B639-8C8D752A9E88}"/>
          </ac:picMkLst>
        </pc:picChg>
        <pc:picChg chg="add mod">
          <ac:chgData name="TIXIER Francois" userId="776a6eeb-52e0-4e7d-86f2-ecfd5b5be952" providerId="ADAL" clId="{C3F7E1B1-79B0-4EBD-AF79-6287C400C729}" dt="2022-02-23T12:15:56.400" v="2399" actId="1036"/>
          <ac:picMkLst>
            <pc:docMk/>
            <pc:sldMk cId="1476074115" sldId="277"/>
            <ac:picMk id="38" creationId="{236B677B-90FD-43C0-A837-B30FFDE5318C}"/>
          </ac:picMkLst>
        </pc:picChg>
        <pc:picChg chg="del">
          <ac:chgData name="TIXIER Francois" userId="776a6eeb-52e0-4e7d-86f2-ecfd5b5be952" providerId="ADAL" clId="{C3F7E1B1-79B0-4EBD-AF79-6287C400C729}" dt="2022-02-22T10:29:42.388" v="4" actId="478"/>
          <ac:picMkLst>
            <pc:docMk/>
            <pc:sldMk cId="1476074115" sldId="277"/>
            <ac:picMk id="38" creationId="{95794E35-54B0-49BF-A39A-2327E9B122D9}"/>
          </ac:picMkLst>
        </pc:picChg>
        <pc:picChg chg="del mod">
          <ac:chgData name="TIXIER Francois" userId="776a6eeb-52e0-4e7d-86f2-ecfd5b5be952" providerId="ADAL" clId="{C3F7E1B1-79B0-4EBD-AF79-6287C400C729}" dt="2022-02-22T10:39:06.767" v="91" actId="478"/>
          <ac:picMkLst>
            <pc:docMk/>
            <pc:sldMk cId="1476074115" sldId="277"/>
            <ac:picMk id="39" creationId="{6B610D83-C704-4AC5-978C-3816C7B47233}"/>
          </ac:picMkLst>
        </pc:picChg>
        <pc:picChg chg="del mod">
          <ac:chgData name="TIXIER Francois" userId="776a6eeb-52e0-4e7d-86f2-ecfd5b5be952" providerId="ADAL" clId="{C3F7E1B1-79B0-4EBD-AF79-6287C400C729}" dt="2022-02-22T10:45:05.426" v="189" actId="478"/>
          <ac:picMkLst>
            <pc:docMk/>
            <pc:sldMk cId="1476074115" sldId="277"/>
            <ac:picMk id="40" creationId="{AECBDC56-1CB1-4D51-89FF-BF0D51927825}"/>
          </ac:picMkLst>
        </pc:picChg>
        <pc:picChg chg="del mod">
          <ac:chgData name="TIXIER Francois" userId="776a6eeb-52e0-4e7d-86f2-ecfd5b5be952" providerId="ADAL" clId="{C3F7E1B1-79B0-4EBD-AF79-6287C400C729}" dt="2022-02-22T10:51:44.641" v="455" actId="478"/>
          <ac:picMkLst>
            <pc:docMk/>
            <pc:sldMk cId="1476074115" sldId="277"/>
            <ac:picMk id="41" creationId="{83E7C976-F328-4146-A73C-F3DCBB9882E7}"/>
          </ac:picMkLst>
        </pc:picChg>
        <pc:picChg chg="del mod">
          <ac:chgData name="TIXIER Francois" userId="776a6eeb-52e0-4e7d-86f2-ecfd5b5be952" providerId="ADAL" clId="{C3F7E1B1-79B0-4EBD-AF79-6287C400C729}" dt="2022-02-22T10:51:35.985" v="453" actId="478"/>
          <ac:picMkLst>
            <pc:docMk/>
            <pc:sldMk cId="1476074115" sldId="277"/>
            <ac:picMk id="42" creationId="{EE02861C-709A-45CB-8CF4-C5BC76A3259A}"/>
          </ac:picMkLst>
        </pc:picChg>
        <pc:picChg chg="del mod">
          <ac:chgData name="TIXIER Francois" userId="776a6eeb-52e0-4e7d-86f2-ecfd5b5be952" providerId="ADAL" clId="{C3F7E1B1-79B0-4EBD-AF79-6287C400C729}" dt="2022-02-23T12:08:06.522" v="2287" actId="478"/>
          <ac:picMkLst>
            <pc:docMk/>
            <pc:sldMk cId="1476074115" sldId="277"/>
            <ac:picMk id="43" creationId="{FEEB58DA-6DA2-4FEF-BEF6-160E0B25FE68}"/>
          </ac:picMkLst>
        </pc:picChg>
        <pc:picChg chg="del mod">
          <ac:chgData name="TIXIER Francois" userId="776a6eeb-52e0-4e7d-86f2-ecfd5b5be952" providerId="ADAL" clId="{C3F7E1B1-79B0-4EBD-AF79-6287C400C729}" dt="2022-02-23T12:08:06.522" v="2287" actId="478"/>
          <ac:picMkLst>
            <pc:docMk/>
            <pc:sldMk cId="1476074115" sldId="277"/>
            <ac:picMk id="44" creationId="{8A70C110-EAF9-43E1-8D26-49F6C66148DE}"/>
          </ac:picMkLst>
        </pc:picChg>
        <pc:picChg chg="del mod">
          <ac:chgData name="TIXIER Francois" userId="776a6eeb-52e0-4e7d-86f2-ecfd5b5be952" providerId="ADAL" clId="{C3F7E1B1-79B0-4EBD-AF79-6287C400C729}" dt="2022-02-22T10:37:37.433" v="74" actId="478"/>
          <ac:picMkLst>
            <pc:docMk/>
            <pc:sldMk cId="1476074115" sldId="277"/>
            <ac:picMk id="45" creationId="{B9BCE2D8-26D2-4B8E-A805-791AFE9F66EA}"/>
          </ac:picMkLst>
        </pc:picChg>
        <pc:picChg chg="del mod">
          <ac:chgData name="TIXIER Francois" userId="776a6eeb-52e0-4e7d-86f2-ecfd5b5be952" providerId="ADAL" clId="{C3F7E1B1-79B0-4EBD-AF79-6287C400C729}" dt="2022-02-22T10:51:42.064" v="454" actId="478"/>
          <ac:picMkLst>
            <pc:docMk/>
            <pc:sldMk cId="1476074115" sldId="277"/>
            <ac:picMk id="46" creationId="{69774E3A-F5CE-4B68-837B-7378DD5F5C46}"/>
          </ac:picMkLst>
        </pc:picChg>
        <pc:picChg chg="del mod">
          <ac:chgData name="TIXIER Francois" userId="776a6eeb-52e0-4e7d-86f2-ecfd5b5be952" providerId="ADAL" clId="{C3F7E1B1-79B0-4EBD-AF79-6287C400C729}" dt="2022-02-22T10:56:54.798" v="571" actId="478"/>
          <ac:picMkLst>
            <pc:docMk/>
            <pc:sldMk cId="1476074115" sldId="277"/>
            <ac:picMk id="47" creationId="{74792F41-C769-4FF9-A68A-6AAE2C734BBC}"/>
          </ac:picMkLst>
        </pc:picChg>
      </pc:sldChg>
      <pc:sldChg chg="add del">
        <pc:chgData name="TIXIER Francois" userId="776a6eeb-52e0-4e7d-86f2-ecfd5b5be952" providerId="ADAL" clId="{C3F7E1B1-79B0-4EBD-AF79-6287C400C729}" dt="2022-02-23T12:08:39.272" v="2291" actId="47"/>
        <pc:sldMkLst>
          <pc:docMk/>
          <pc:sldMk cId="191266758" sldId="278"/>
        </pc:sldMkLst>
      </pc:sldChg>
    </pc:docChg>
  </pc:docChgLst>
  <pc:docChgLst>
    <pc:chgData name="LAURIOZ Hubert" userId="042c0725-f647-406f-add6-64a715f31917" providerId="ADAL" clId="{CCF1308B-4437-4747-B55F-D283937564D0}"/>
    <pc:docChg chg="undo custSel addSld delSld modSld">
      <pc:chgData name="LAURIOZ Hubert" userId="042c0725-f647-406f-add6-64a715f31917" providerId="ADAL" clId="{CCF1308B-4437-4747-B55F-D283937564D0}" dt="2022-06-20T06:49:03.752" v="2719" actId="114"/>
      <pc:docMkLst>
        <pc:docMk/>
      </pc:docMkLst>
      <pc:sldChg chg="addSp delSp modSp mod">
        <pc:chgData name="LAURIOZ Hubert" userId="042c0725-f647-406f-add6-64a715f31917" providerId="ADAL" clId="{CCF1308B-4437-4747-B55F-D283937564D0}" dt="2022-06-17T16:59:53.397" v="2387" actId="14100"/>
        <pc:sldMkLst>
          <pc:docMk/>
          <pc:sldMk cId="2359043163" sldId="275"/>
        </pc:sldMkLst>
        <pc:spChg chg="mod">
          <ac:chgData name="LAURIOZ Hubert" userId="042c0725-f647-406f-add6-64a715f31917" providerId="ADAL" clId="{CCF1308B-4437-4747-B55F-D283937564D0}" dt="2022-06-17T16:48:03.186" v="2056" actId="1035"/>
          <ac:spMkLst>
            <pc:docMk/>
            <pc:sldMk cId="2359043163" sldId="275"/>
            <ac:spMk id="3" creationId="{8BEA6A75-A1AB-4AF6-A3C8-01AA28DAE025}"/>
          </ac:spMkLst>
        </pc:spChg>
        <pc:spChg chg="mod">
          <ac:chgData name="LAURIOZ Hubert" userId="042c0725-f647-406f-add6-64a715f31917" providerId="ADAL" clId="{CCF1308B-4437-4747-B55F-D283937564D0}" dt="2022-06-17T16:48:03.186" v="2056" actId="1035"/>
          <ac:spMkLst>
            <pc:docMk/>
            <pc:sldMk cId="2359043163" sldId="275"/>
            <ac:spMk id="19" creationId="{22530049-1AF8-435C-AD2F-2DC5726CB30A}"/>
          </ac:spMkLst>
        </pc:spChg>
        <pc:spChg chg="mod">
          <ac:chgData name="LAURIOZ Hubert" userId="042c0725-f647-406f-add6-64a715f31917" providerId="ADAL" clId="{CCF1308B-4437-4747-B55F-D283937564D0}" dt="2022-06-17T16:48:03.186" v="2056" actId="1035"/>
          <ac:spMkLst>
            <pc:docMk/>
            <pc:sldMk cId="2359043163" sldId="275"/>
            <ac:spMk id="22" creationId="{94ED0749-EE75-418D-9580-DFBD72C539E3}"/>
          </ac:spMkLst>
        </pc:spChg>
        <pc:spChg chg="del">
          <ac:chgData name="LAURIOZ Hubert" userId="042c0725-f647-406f-add6-64a715f31917" providerId="ADAL" clId="{CCF1308B-4437-4747-B55F-D283937564D0}" dt="2022-06-17T16:35:27.313" v="1752" actId="478"/>
          <ac:spMkLst>
            <pc:docMk/>
            <pc:sldMk cId="2359043163" sldId="275"/>
            <ac:spMk id="25" creationId="{22B027F3-CE0E-474A-8CBF-CCE6093C2D1E}"/>
          </ac:spMkLst>
        </pc:spChg>
        <pc:spChg chg="mod">
          <ac:chgData name="LAURIOZ Hubert" userId="042c0725-f647-406f-add6-64a715f31917" providerId="ADAL" clId="{CCF1308B-4437-4747-B55F-D283937564D0}" dt="2022-06-17T16:48:03.186" v="2056" actId="1035"/>
          <ac:spMkLst>
            <pc:docMk/>
            <pc:sldMk cId="2359043163" sldId="275"/>
            <ac:spMk id="26" creationId="{74608986-F30D-4193-8AA5-2D4F505F3CD0}"/>
          </ac:spMkLst>
        </pc:spChg>
        <pc:spChg chg="mod">
          <ac:chgData name="LAURIOZ Hubert" userId="042c0725-f647-406f-add6-64a715f31917" providerId="ADAL" clId="{CCF1308B-4437-4747-B55F-D283937564D0}" dt="2022-06-17T16:59:53.397" v="2387" actId="14100"/>
          <ac:spMkLst>
            <pc:docMk/>
            <pc:sldMk cId="2359043163" sldId="275"/>
            <ac:spMk id="29" creationId="{DD828CCD-FCF1-4A29-83AC-39D9CF8AE16F}"/>
          </ac:spMkLst>
        </pc:spChg>
        <pc:spChg chg="add mod">
          <ac:chgData name="LAURIOZ Hubert" userId="042c0725-f647-406f-add6-64a715f31917" providerId="ADAL" clId="{CCF1308B-4437-4747-B55F-D283937564D0}" dt="2022-06-17T16:59:16.845" v="2375" actId="20577"/>
          <ac:spMkLst>
            <pc:docMk/>
            <pc:sldMk cId="2359043163" sldId="275"/>
            <ac:spMk id="31" creationId="{F13E6DBC-307F-4513-9F12-4B4C92B78AB8}"/>
          </ac:spMkLst>
        </pc:spChg>
        <pc:spChg chg="mod">
          <ac:chgData name="LAURIOZ Hubert" userId="042c0725-f647-406f-add6-64a715f31917" providerId="ADAL" clId="{CCF1308B-4437-4747-B55F-D283937564D0}" dt="2022-06-17T16:59:25.420" v="2377" actId="14100"/>
          <ac:spMkLst>
            <pc:docMk/>
            <pc:sldMk cId="2359043163" sldId="275"/>
            <ac:spMk id="36" creationId="{C3E3DFC9-C19A-43A9-9C22-F47D256B92F5}"/>
          </ac:spMkLst>
        </pc:spChg>
        <pc:spChg chg="mod">
          <ac:chgData name="LAURIOZ Hubert" userId="042c0725-f647-406f-add6-64a715f31917" providerId="ADAL" clId="{CCF1308B-4437-4747-B55F-D283937564D0}" dt="2022-06-17T16:45:16.827" v="1943" actId="113"/>
          <ac:spMkLst>
            <pc:docMk/>
            <pc:sldMk cId="2359043163" sldId="275"/>
            <ac:spMk id="39" creationId="{80643473-3EE3-4CA2-8CCA-3EB7626C95EB}"/>
          </ac:spMkLst>
        </pc:spChg>
        <pc:spChg chg="mod">
          <ac:chgData name="LAURIOZ Hubert" userId="042c0725-f647-406f-add6-64a715f31917" providerId="ADAL" clId="{CCF1308B-4437-4747-B55F-D283937564D0}" dt="2022-06-17T09:44:41.541" v="297" actId="20577"/>
          <ac:spMkLst>
            <pc:docMk/>
            <pc:sldMk cId="2359043163" sldId="275"/>
            <ac:spMk id="52" creationId="{934899C9-6915-46F6-A4C8-0CDE116C5CA2}"/>
          </ac:spMkLst>
        </pc:spChg>
        <pc:spChg chg="del mod">
          <ac:chgData name="LAURIOZ Hubert" userId="042c0725-f647-406f-add6-64a715f31917" providerId="ADAL" clId="{CCF1308B-4437-4747-B55F-D283937564D0}" dt="2022-06-17T16:59:04.470" v="2338" actId="478"/>
          <ac:spMkLst>
            <pc:docMk/>
            <pc:sldMk cId="2359043163" sldId="275"/>
            <ac:spMk id="53" creationId="{EF7EDCBB-A315-4535-BF63-420584119B9B}"/>
          </ac:spMkLst>
        </pc:spChg>
        <pc:spChg chg="mod">
          <ac:chgData name="LAURIOZ Hubert" userId="042c0725-f647-406f-add6-64a715f31917" providerId="ADAL" clId="{CCF1308B-4437-4747-B55F-D283937564D0}" dt="2022-06-17T16:47:18.213" v="2024" actId="20577"/>
          <ac:spMkLst>
            <pc:docMk/>
            <pc:sldMk cId="2359043163" sldId="275"/>
            <ac:spMk id="54" creationId="{850998A9-D4E6-453E-A209-4ADE26F43B56}"/>
          </ac:spMkLst>
        </pc:spChg>
        <pc:spChg chg="mod">
          <ac:chgData name="LAURIOZ Hubert" userId="042c0725-f647-406f-add6-64a715f31917" providerId="ADAL" clId="{CCF1308B-4437-4747-B55F-D283937564D0}" dt="2022-06-17T16:47:33.710" v="2037" actId="20577"/>
          <ac:spMkLst>
            <pc:docMk/>
            <pc:sldMk cId="2359043163" sldId="275"/>
            <ac:spMk id="55" creationId="{9C2AF2A8-0C1C-4F87-93AF-FE2C37CEFDB1}"/>
          </ac:spMkLst>
        </pc:spChg>
        <pc:spChg chg="mod">
          <ac:chgData name="LAURIOZ Hubert" userId="042c0725-f647-406f-add6-64a715f31917" providerId="ADAL" clId="{CCF1308B-4437-4747-B55F-D283937564D0}" dt="2022-06-17T16:47:51.826" v="2048" actId="20577"/>
          <ac:spMkLst>
            <pc:docMk/>
            <pc:sldMk cId="2359043163" sldId="275"/>
            <ac:spMk id="56" creationId="{37D8FB33-3C2C-4049-937B-EA730E47E164}"/>
          </ac:spMkLst>
        </pc:spChg>
        <pc:picChg chg="mod">
          <ac:chgData name="LAURIOZ Hubert" userId="042c0725-f647-406f-add6-64a715f31917" providerId="ADAL" clId="{CCF1308B-4437-4747-B55F-D283937564D0}" dt="2022-06-17T16:45:07.118" v="1941" actId="1035"/>
          <ac:picMkLst>
            <pc:docMk/>
            <pc:sldMk cId="2359043163" sldId="275"/>
            <ac:picMk id="10" creationId="{0C817A30-A7D6-4363-8391-18DC18E5251A}"/>
          </ac:picMkLst>
        </pc:picChg>
        <pc:picChg chg="mod">
          <ac:chgData name="LAURIOZ Hubert" userId="042c0725-f647-406f-add6-64a715f31917" providerId="ADAL" clId="{CCF1308B-4437-4747-B55F-D283937564D0}" dt="2022-06-17T16:47:10.879" v="2022" actId="1036"/>
          <ac:picMkLst>
            <pc:docMk/>
            <pc:sldMk cId="2359043163" sldId="275"/>
            <ac:picMk id="11" creationId="{DD511E6B-9220-4D9F-8FD9-518A1A747FC3}"/>
          </ac:picMkLst>
        </pc:picChg>
        <pc:picChg chg="mod">
          <ac:chgData name="LAURIOZ Hubert" userId="042c0725-f647-406f-add6-64a715f31917" providerId="ADAL" clId="{CCF1308B-4437-4747-B55F-D283937564D0}" dt="2022-06-17T16:47:10.879" v="2022" actId="1036"/>
          <ac:picMkLst>
            <pc:docMk/>
            <pc:sldMk cId="2359043163" sldId="275"/>
            <ac:picMk id="12" creationId="{FA969208-74AA-429E-B845-F8F1C7CEF730}"/>
          </ac:picMkLst>
        </pc:picChg>
        <pc:picChg chg="mod">
          <ac:chgData name="LAURIOZ Hubert" userId="042c0725-f647-406f-add6-64a715f31917" providerId="ADAL" clId="{CCF1308B-4437-4747-B55F-D283937564D0}" dt="2022-06-17T16:48:03.186" v="2056" actId="1035"/>
          <ac:picMkLst>
            <pc:docMk/>
            <pc:sldMk cId="2359043163" sldId="275"/>
            <ac:picMk id="20" creationId="{A9A5CD54-BC3E-4E76-B4C5-6D55FCB7054C}"/>
          </ac:picMkLst>
        </pc:picChg>
        <pc:picChg chg="mod">
          <ac:chgData name="LAURIOZ Hubert" userId="042c0725-f647-406f-add6-64a715f31917" providerId="ADAL" clId="{CCF1308B-4437-4747-B55F-D283937564D0}" dt="2022-06-17T16:48:07.214" v="2069" actId="1037"/>
          <ac:picMkLst>
            <pc:docMk/>
            <pc:sldMk cId="2359043163" sldId="275"/>
            <ac:picMk id="21" creationId="{81E3CA0D-458E-469D-BD15-946C63C342E1}"/>
          </ac:picMkLst>
        </pc:picChg>
        <pc:picChg chg="mod">
          <ac:chgData name="LAURIOZ Hubert" userId="042c0725-f647-406f-add6-64a715f31917" providerId="ADAL" clId="{CCF1308B-4437-4747-B55F-D283937564D0}" dt="2022-06-17T16:48:03.186" v="2056" actId="1035"/>
          <ac:picMkLst>
            <pc:docMk/>
            <pc:sldMk cId="2359043163" sldId="275"/>
            <ac:picMk id="27" creationId="{C21FDFEF-FBAD-4F0F-AEDF-5D1914D2E7B9}"/>
          </ac:picMkLst>
        </pc:picChg>
      </pc:sldChg>
      <pc:sldChg chg="modSp mod">
        <pc:chgData name="LAURIOZ Hubert" userId="042c0725-f647-406f-add6-64a715f31917" providerId="ADAL" clId="{CCF1308B-4437-4747-B55F-D283937564D0}" dt="2022-06-17T17:18:03.997" v="2716" actId="1036"/>
        <pc:sldMkLst>
          <pc:docMk/>
          <pc:sldMk cId="263765170" sldId="279"/>
        </pc:sldMkLst>
        <pc:spChg chg="mod">
          <ac:chgData name="LAURIOZ Hubert" userId="042c0725-f647-406f-add6-64a715f31917" providerId="ADAL" clId="{CCF1308B-4437-4747-B55F-D283937564D0}" dt="2022-06-17T17:06:02.053" v="2572" actId="1036"/>
          <ac:spMkLst>
            <pc:docMk/>
            <pc:sldMk cId="263765170" sldId="279"/>
            <ac:spMk id="4" creationId="{CD3D970C-77AE-4A68-922C-8026907A284C}"/>
          </ac:spMkLst>
        </pc:spChg>
        <pc:spChg chg="mod">
          <ac:chgData name="LAURIOZ Hubert" userId="042c0725-f647-406f-add6-64a715f31917" providerId="ADAL" clId="{CCF1308B-4437-4747-B55F-D283937564D0}" dt="2022-06-17T17:03:24.499" v="2440" actId="1036"/>
          <ac:spMkLst>
            <pc:docMk/>
            <pc:sldMk cId="263765170" sldId="279"/>
            <ac:spMk id="11" creationId="{4310A109-750C-463C-A44F-CE0096C43ED2}"/>
          </ac:spMkLst>
        </pc:spChg>
        <pc:spChg chg="mod">
          <ac:chgData name="LAURIOZ Hubert" userId="042c0725-f647-406f-add6-64a715f31917" providerId="ADAL" clId="{CCF1308B-4437-4747-B55F-D283937564D0}" dt="2022-06-17T17:09:09.276" v="2655" actId="1036"/>
          <ac:spMkLst>
            <pc:docMk/>
            <pc:sldMk cId="263765170" sldId="279"/>
            <ac:spMk id="12" creationId="{181C4A69-1AE6-47F0-9224-EED317ADCD7D}"/>
          </ac:spMkLst>
        </pc:spChg>
        <pc:spChg chg="mod">
          <ac:chgData name="LAURIOZ Hubert" userId="042c0725-f647-406f-add6-64a715f31917" providerId="ADAL" clId="{CCF1308B-4437-4747-B55F-D283937564D0}" dt="2022-06-17T17:09:46.474" v="2676" actId="20577"/>
          <ac:spMkLst>
            <pc:docMk/>
            <pc:sldMk cId="263765170" sldId="279"/>
            <ac:spMk id="17" creationId="{C7A010E6-92E4-4874-B5C2-5BBA4BCB76B4}"/>
          </ac:spMkLst>
        </pc:spChg>
        <pc:spChg chg="mod">
          <ac:chgData name="LAURIOZ Hubert" userId="042c0725-f647-406f-add6-64a715f31917" providerId="ADAL" clId="{CCF1308B-4437-4747-B55F-D283937564D0}" dt="2022-06-17T17:09:09.276" v="2655" actId="1036"/>
          <ac:spMkLst>
            <pc:docMk/>
            <pc:sldMk cId="263765170" sldId="279"/>
            <ac:spMk id="22" creationId="{AF807B32-7854-4555-8207-A55854D37866}"/>
          </ac:spMkLst>
        </pc:spChg>
        <pc:spChg chg="mod">
          <ac:chgData name="LAURIOZ Hubert" userId="042c0725-f647-406f-add6-64a715f31917" providerId="ADAL" clId="{CCF1308B-4437-4747-B55F-D283937564D0}" dt="2022-06-17T09:35:26.142" v="127" actId="6549"/>
          <ac:spMkLst>
            <pc:docMk/>
            <pc:sldMk cId="263765170" sldId="279"/>
            <ac:spMk id="24" creationId="{9BC80517-8798-406A-813A-23892A6E84BD}"/>
          </ac:spMkLst>
        </pc:spChg>
        <pc:spChg chg="mod">
          <ac:chgData name="LAURIOZ Hubert" userId="042c0725-f647-406f-add6-64a715f31917" providerId="ADAL" clId="{CCF1308B-4437-4747-B55F-D283937564D0}" dt="2022-06-17T17:03:24.499" v="2440" actId="1036"/>
          <ac:spMkLst>
            <pc:docMk/>
            <pc:sldMk cId="263765170" sldId="279"/>
            <ac:spMk id="26" creationId="{0E3745F0-8EEF-4614-91BB-053B5DC50958}"/>
          </ac:spMkLst>
        </pc:spChg>
        <pc:spChg chg="mod">
          <ac:chgData name="LAURIOZ Hubert" userId="042c0725-f647-406f-add6-64a715f31917" providerId="ADAL" clId="{CCF1308B-4437-4747-B55F-D283937564D0}" dt="2022-06-17T17:05:07.115" v="2526" actId="1035"/>
          <ac:spMkLst>
            <pc:docMk/>
            <pc:sldMk cId="263765170" sldId="279"/>
            <ac:spMk id="27" creationId="{2EC46C95-F4D5-4B92-89B5-0DF712E5F31C}"/>
          </ac:spMkLst>
        </pc:spChg>
        <pc:spChg chg="mod">
          <ac:chgData name="LAURIOZ Hubert" userId="042c0725-f647-406f-add6-64a715f31917" providerId="ADAL" clId="{CCF1308B-4437-4747-B55F-D283937564D0}" dt="2022-06-17T17:05:07.115" v="2526" actId="1035"/>
          <ac:spMkLst>
            <pc:docMk/>
            <pc:sldMk cId="263765170" sldId="279"/>
            <ac:spMk id="28" creationId="{767D7717-AC37-4545-AA23-CADB80378425}"/>
          </ac:spMkLst>
        </pc:spChg>
        <pc:spChg chg="mod">
          <ac:chgData name="LAURIOZ Hubert" userId="042c0725-f647-406f-add6-64a715f31917" providerId="ADAL" clId="{CCF1308B-4437-4747-B55F-D283937564D0}" dt="2022-06-17T17:05:07.115" v="2526" actId="1035"/>
          <ac:spMkLst>
            <pc:docMk/>
            <pc:sldMk cId="263765170" sldId="279"/>
            <ac:spMk id="29" creationId="{6790621D-BC3F-496D-9488-8FAFFD5831C9}"/>
          </ac:spMkLst>
        </pc:spChg>
        <pc:spChg chg="mod">
          <ac:chgData name="LAURIOZ Hubert" userId="042c0725-f647-406f-add6-64a715f31917" providerId="ADAL" clId="{CCF1308B-4437-4747-B55F-D283937564D0}" dt="2022-06-17T17:05:07.115" v="2526" actId="1035"/>
          <ac:spMkLst>
            <pc:docMk/>
            <pc:sldMk cId="263765170" sldId="279"/>
            <ac:spMk id="30" creationId="{2E69D75F-3F2E-49DD-B0C1-E8C92424345D}"/>
          </ac:spMkLst>
        </pc:spChg>
        <pc:spChg chg="mod">
          <ac:chgData name="LAURIOZ Hubert" userId="042c0725-f647-406f-add6-64a715f31917" providerId="ADAL" clId="{CCF1308B-4437-4747-B55F-D283937564D0}" dt="2022-06-17T17:09:15.867" v="2667" actId="1035"/>
          <ac:spMkLst>
            <pc:docMk/>
            <pc:sldMk cId="263765170" sldId="279"/>
            <ac:spMk id="35" creationId="{4F59CD20-BFD5-4EA5-9CA0-AFA61396BFDD}"/>
          </ac:spMkLst>
        </pc:spChg>
        <pc:grpChg chg="mod">
          <ac:chgData name="LAURIOZ Hubert" userId="042c0725-f647-406f-add6-64a715f31917" providerId="ADAL" clId="{CCF1308B-4437-4747-B55F-D283937564D0}" dt="2022-06-17T17:06:02.053" v="2572" actId="1036"/>
          <ac:grpSpMkLst>
            <pc:docMk/>
            <pc:sldMk cId="263765170" sldId="279"/>
            <ac:grpSpMk id="3" creationId="{D72B052A-3527-4034-8448-62744F887DA6}"/>
          </ac:grpSpMkLst>
        </pc:grpChg>
        <pc:picChg chg="mod">
          <ac:chgData name="LAURIOZ Hubert" userId="042c0725-f647-406f-add6-64a715f31917" providerId="ADAL" clId="{CCF1308B-4437-4747-B55F-D283937564D0}" dt="2022-06-17T17:18:03.997" v="2716" actId="1036"/>
          <ac:picMkLst>
            <pc:docMk/>
            <pc:sldMk cId="263765170" sldId="279"/>
            <ac:picMk id="18" creationId="{37B04F6B-AA4B-4B4E-9CA0-AE586955B2C8}"/>
          </ac:picMkLst>
        </pc:picChg>
        <pc:picChg chg="mod">
          <ac:chgData name="LAURIOZ Hubert" userId="042c0725-f647-406f-add6-64a715f31917" providerId="ADAL" clId="{CCF1308B-4437-4747-B55F-D283937564D0}" dt="2022-06-17T17:05:07.115" v="2526" actId="1035"/>
          <ac:picMkLst>
            <pc:docMk/>
            <pc:sldMk cId="263765170" sldId="279"/>
            <ac:picMk id="31" creationId="{730088AD-9E10-404E-A436-06A5C05BCE70}"/>
          </ac:picMkLst>
        </pc:picChg>
        <pc:picChg chg="mod">
          <ac:chgData name="LAURIOZ Hubert" userId="042c0725-f647-406f-add6-64a715f31917" providerId="ADAL" clId="{CCF1308B-4437-4747-B55F-D283937564D0}" dt="2022-06-17T17:05:07.115" v="2526" actId="1035"/>
          <ac:picMkLst>
            <pc:docMk/>
            <pc:sldMk cId="263765170" sldId="279"/>
            <ac:picMk id="32" creationId="{70DAB1A9-2DB0-485A-B74B-A57C00D9E9ED}"/>
          </ac:picMkLst>
        </pc:picChg>
        <pc:picChg chg="mod">
          <ac:chgData name="LAURIOZ Hubert" userId="042c0725-f647-406f-add6-64a715f31917" providerId="ADAL" clId="{CCF1308B-4437-4747-B55F-D283937564D0}" dt="2022-06-17T17:05:07.115" v="2526" actId="1035"/>
          <ac:picMkLst>
            <pc:docMk/>
            <pc:sldMk cId="263765170" sldId="279"/>
            <ac:picMk id="33" creationId="{A4A8D6BD-9C55-4EA1-99E3-23D4BB82494D}"/>
          </ac:picMkLst>
        </pc:picChg>
        <pc:picChg chg="mod">
          <ac:chgData name="LAURIOZ Hubert" userId="042c0725-f647-406f-add6-64a715f31917" providerId="ADAL" clId="{CCF1308B-4437-4747-B55F-D283937564D0}" dt="2022-06-17T17:05:07.115" v="2526" actId="1035"/>
          <ac:picMkLst>
            <pc:docMk/>
            <pc:sldMk cId="263765170" sldId="279"/>
            <ac:picMk id="34" creationId="{15045831-C71D-4FDC-AA81-09A0C0708527}"/>
          </ac:picMkLst>
        </pc:picChg>
      </pc:sldChg>
      <pc:sldChg chg="addSp delSp modSp mod">
        <pc:chgData name="LAURIOZ Hubert" userId="042c0725-f647-406f-add6-64a715f31917" providerId="ADAL" clId="{CCF1308B-4437-4747-B55F-D283937564D0}" dt="2022-06-17T17:10:29.449" v="2688" actId="20577"/>
        <pc:sldMkLst>
          <pc:docMk/>
          <pc:sldMk cId="2706805019" sldId="280"/>
        </pc:sldMkLst>
        <pc:spChg chg="add mod">
          <ac:chgData name="LAURIOZ Hubert" userId="042c0725-f647-406f-add6-64a715f31917" providerId="ADAL" clId="{CCF1308B-4437-4747-B55F-D283937564D0}" dt="2022-06-17T10:29:27.010" v="1309" actId="20577"/>
          <ac:spMkLst>
            <pc:docMk/>
            <pc:sldMk cId="2706805019" sldId="280"/>
            <ac:spMk id="7" creationId="{4ACC618B-55C4-41A1-BF1C-6E517875414C}"/>
          </ac:spMkLst>
        </pc:spChg>
        <pc:spChg chg="add mod">
          <ac:chgData name="LAURIOZ Hubert" userId="042c0725-f647-406f-add6-64a715f31917" providerId="ADAL" clId="{CCF1308B-4437-4747-B55F-D283937564D0}" dt="2022-06-17T10:04:13.654" v="353" actId="20577"/>
          <ac:spMkLst>
            <pc:docMk/>
            <pc:sldMk cId="2706805019" sldId="280"/>
            <ac:spMk id="8" creationId="{CEAF3164-8F83-495B-B42C-F3594117442A}"/>
          </ac:spMkLst>
        </pc:spChg>
        <pc:spChg chg="mod">
          <ac:chgData name="LAURIOZ Hubert" userId="042c0725-f647-406f-add6-64a715f31917" providerId="ADAL" clId="{CCF1308B-4437-4747-B55F-D283937564D0}" dt="2022-06-17T16:56:35.448" v="2300" actId="6549"/>
          <ac:spMkLst>
            <pc:docMk/>
            <pc:sldMk cId="2706805019" sldId="280"/>
            <ac:spMk id="9" creationId="{5F0F6ED7-B9FD-4D8F-BCE0-BC93652DFA9A}"/>
          </ac:spMkLst>
        </pc:spChg>
        <pc:spChg chg="mod">
          <ac:chgData name="LAURIOZ Hubert" userId="042c0725-f647-406f-add6-64a715f31917" providerId="ADAL" clId="{CCF1308B-4437-4747-B55F-D283937564D0}" dt="2022-06-17T17:02:04.802" v="2405" actId="1036"/>
          <ac:spMkLst>
            <pc:docMk/>
            <pc:sldMk cId="2706805019" sldId="280"/>
            <ac:spMk id="10" creationId="{65F439D4-948A-4D69-8669-2248A6F619D9}"/>
          </ac:spMkLst>
        </pc:spChg>
        <pc:spChg chg="mod">
          <ac:chgData name="LAURIOZ Hubert" userId="042c0725-f647-406f-add6-64a715f31917" providerId="ADAL" clId="{CCF1308B-4437-4747-B55F-D283937564D0}" dt="2022-06-17T17:10:29.449" v="2688" actId="20577"/>
          <ac:spMkLst>
            <pc:docMk/>
            <pc:sldMk cId="2706805019" sldId="280"/>
            <ac:spMk id="11" creationId="{172E8349-AF8E-4351-BA35-8E04024C3CC5}"/>
          </ac:spMkLst>
        </pc:spChg>
        <pc:spChg chg="add mod">
          <ac:chgData name="LAURIOZ Hubert" userId="042c0725-f647-406f-add6-64a715f31917" providerId="ADAL" clId="{CCF1308B-4437-4747-B55F-D283937564D0}" dt="2022-06-17T16:58:52.482" v="2337" actId="20577"/>
          <ac:spMkLst>
            <pc:docMk/>
            <pc:sldMk cId="2706805019" sldId="280"/>
            <ac:spMk id="12" creationId="{AC535DCF-FB4B-4622-9FEA-EC8952816309}"/>
          </ac:spMkLst>
        </pc:spChg>
        <pc:spChg chg="del">
          <ac:chgData name="LAURIOZ Hubert" userId="042c0725-f647-406f-add6-64a715f31917" providerId="ADAL" clId="{CCF1308B-4437-4747-B55F-D283937564D0}" dt="2022-06-17T16:58:43.771" v="2333" actId="478"/>
          <ac:spMkLst>
            <pc:docMk/>
            <pc:sldMk cId="2706805019" sldId="280"/>
            <ac:spMk id="20" creationId="{A321D76A-F6EA-4D2C-BA1D-2394EC7E8C48}"/>
          </ac:spMkLst>
        </pc:spChg>
        <pc:spChg chg="mod">
          <ac:chgData name="LAURIOZ Hubert" userId="042c0725-f647-406f-add6-64a715f31917" providerId="ADAL" clId="{CCF1308B-4437-4747-B55F-D283937564D0}" dt="2022-06-17T17:02:04.802" v="2405" actId="1036"/>
          <ac:spMkLst>
            <pc:docMk/>
            <pc:sldMk cId="2706805019" sldId="280"/>
            <ac:spMk id="37" creationId="{6EC800BA-8275-4F26-BBD6-721A77B7F255}"/>
          </ac:spMkLst>
        </pc:spChg>
        <pc:picChg chg="mod">
          <ac:chgData name="LAURIOZ Hubert" userId="042c0725-f647-406f-add6-64a715f31917" providerId="ADAL" clId="{CCF1308B-4437-4747-B55F-D283937564D0}" dt="2022-06-17T17:02:04.802" v="2405" actId="1036"/>
          <ac:picMkLst>
            <pc:docMk/>
            <pc:sldMk cId="2706805019" sldId="280"/>
            <ac:picMk id="25" creationId="{E13E2A19-89EA-425D-92BA-2C5BE5FEF0ED}"/>
          </ac:picMkLst>
        </pc:picChg>
      </pc:sldChg>
      <pc:sldChg chg="modSp mod">
        <pc:chgData name="LAURIOZ Hubert" userId="042c0725-f647-406f-add6-64a715f31917" providerId="ADAL" clId="{CCF1308B-4437-4747-B55F-D283937564D0}" dt="2022-06-20T06:49:03.752" v="2719" actId="114"/>
        <pc:sldMkLst>
          <pc:docMk/>
          <pc:sldMk cId="2425911984" sldId="281"/>
        </pc:sldMkLst>
        <pc:spChg chg="mod">
          <ac:chgData name="LAURIOZ Hubert" userId="042c0725-f647-406f-add6-64a715f31917" providerId="ADAL" clId="{CCF1308B-4437-4747-B55F-D283937564D0}" dt="2022-06-17T09:40:54.203" v="233" actId="20577"/>
          <ac:spMkLst>
            <pc:docMk/>
            <pc:sldMk cId="2425911984" sldId="281"/>
            <ac:spMk id="7" creationId="{1DC2C958-4EF7-43E4-A13D-764BE11C7529}"/>
          </ac:spMkLst>
        </pc:spChg>
        <pc:spChg chg="mod">
          <ac:chgData name="LAURIOZ Hubert" userId="042c0725-f647-406f-add6-64a715f31917" providerId="ADAL" clId="{CCF1308B-4437-4747-B55F-D283937564D0}" dt="2022-06-17T09:41:29.839" v="236" actId="114"/>
          <ac:spMkLst>
            <pc:docMk/>
            <pc:sldMk cId="2425911984" sldId="281"/>
            <ac:spMk id="8" creationId="{FC9B6322-A567-4423-895B-9BEB693DC8CC}"/>
          </ac:spMkLst>
        </pc:spChg>
        <pc:spChg chg="mod">
          <ac:chgData name="LAURIOZ Hubert" userId="042c0725-f647-406f-add6-64a715f31917" providerId="ADAL" clId="{CCF1308B-4437-4747-B55F-D283937564D0}" dt="2022-06-17T09:42:05.204" v="265" actId="20577"/>
          <ac:spMkLst>
            <pc:docMk/>
            <pc:sldMk cId="2425911984" sldId="281"/>
            <ac:spMk id="10" creationId="{0E57E31F-A7EB-4223-89D1-5D46B5CE38DC}"/>
          </ac:spMkLst>
        </pc:spChg>
        <pc:spChg chg="mod">
          <ac:chgData name="LAURIOZ Hubert" userId="042c0725-f647-406f-add6-64a715f31917" providerId="ADAL" clId="{CCF1308B-4437-4747-B55F-D283937564D0}" dt="2022-06-17T09:42:31.668" v="281" actId="20577"/>
          <ac:spMkLst>
            <pc:docMk/>
            <pc:sldMk cId="2425911984" sldId="281"/>
            <ac:spMk id="11" creationId="{9D619875-1021-48C3-8D0D-0DE4796F4984}"/>
          </ac:spMkLst>
        </pc:spChg>
        <pc:spChg chg="mod">
          <ac:chgData name="LAURIOZ Hubert" userId="042c0725-f647-406f-add6-64a715f31917" providerId="ADAL" clId="{CCF1308B-4437-4747-B55F-D283937564D0}" dt="2022-06-17T16:00:16.744" v="1345" actId="1036"/>
          <ac:spMkLst>
            <pc:docMk/>
            <pc:sldMk cId="2425911984" sldId="281"/>
            <ac:spMk id="12" creationId="{DEFDECE6-BCDC-4149-B7BE-80C04B5462E0}"/>
          </ac:spMkLst>
        </pc:spChg>
        <pc:spChg chg="mod">
          <ac:chgData name="LAURIOZ Hubert" userId="042c0725-f647-406f-add6-64a715f31917" providerId="ADAL" clId="{CCF1308B-4437-4747-B55F-D283937564D0}" dt="2022-06-17T16:05:04.854" v="1556" actId="6549"/>
          <ac:spMkLst>
            <pc:docMk/>
            <pc:sldMk cId="2425911984" sldId="281"/>
            <ac:spMk id="13" creationId="{3CEAA76F-209B-414E-BC9A-2A6C15F752BC}"/>
          </ac:spMkLst>
        </pc:spChg>
        <pc:spChg chg="mod">
          <ac:chgData name="LAURIOZ Hubert" userId="042c0725-f647-406f-add6-64a715f31917" providerId="ADAL" clId="{CCF1308B-4437-4747-B55F-D283937564D0}" dt="2022-06-20T06:49:03.752" v="2719" actId="114"/>
          <ac:spMkLst>
            <pc:docMk/>
            <pc:sldMk cId="2425911984" sldId="281"/>
            <ac:spMk id="14" creationId="{504305EE-43D8-4022-B0EA-EDDA9D2A6535}"/>
          </ac:spMkLst>
        </pc:spChg>
        <pc:spChg chg="mod">
          <ac:chgData name="LAURIOZ Hubert" userId="042c0725-f647-406f-add6-64a715f31917" providerId="ADAL" clId="{CCF1308B-4437-4747-B55F-D283937564D0}" dt="2022-06-17T16:49:14.387" v="2077" actId="1035"/>
          <ac:spMkLst>
            <pc:docMk/>
            <pc:sldMk cId="2425911984" sldId="281"/>
            <ac:spMk id="20" creationId="{A321D76A-F6EA-4D2C-BA1D-2394EC7E8C48}"/>
          </ac:spMkLst>
        </pc:spChg>
        <pc:spChg chg="mod">
          <ac:chgData name="LAURIOZ Hubert" userId="042c0725-f647-406f-add6-64a715f31917" providerId="ADAL" clId="{CCF1308B-4437-4747-B55F-D283937564D0}" dt="2022-06-17T16:49:20.579" v="2078" actId="113"/>
          <ac:spMkLst>
            <pc:docMk/>
            <pc:sldMk cId="2425911984" sldId="281"/>
            <ac:spMk id="37" creationId="{6EC800BA-8275-4F26-BBD6-721A77B7F255}"/>
          </ac:spMkLst>
        </pc:spChg>
      </pc:sldChg>
      <pc:sldChg chg="addSp delSp modSp add del mod">
        <pc:chgData name="LAURIOZ Hubert" userId="042c0725-f647-406f-add6-64a715f31917" providerId="ADAL" clId="{CCF1308B-4437-4747-B55F-D283937564D0}" dt="2022-06-17T16:40:38.966" v="1813" actId="47"/>
        <pc:sldMkLst>
          <pc:docMk/>
          <pc:sldMk cId="1851580350" sldId="282"/>
        </pc:sldMkLst>
        <pc:spChg chg="add del mod">
          <ac:chgData name="LAURIOZ Hubert" userId="042c0725-f647-406f-add6-64a715f31917" providerId="ADAL" clId="{CCF1308B-4437-4747-B55F-D283937564D0}" dt="2022-06-17T16:37:22.825" v="1783"/>
          <ac:spMkLst>
            <pc:docMk/>
            <pc:sldMk cId="1851580350" sldId="282"/>
            <ac:spMk id="2" creationId="{48A78343-362A-4651-BDA0-4C8D19E48508}"/>
          </ac:spMkLst>
        </pc:spChg>
        <pc:spChg chg="add del">
          <ac:chgData name="LAURIOZ Hubert" userId="042c0725-f647-406f-add6-64a715f31917" providerId="ADAL" clId="{CCF1308B-4437-4747-B55F-D283937564D0}" dt="2022-06-17T16:35:18.022" v="1751" actId="478"/>
          <ac:spMkLst>
            <pc:docMk/>
            <pc:sldMk cId="1851580350" sldId="282"/>
            <ac:spMk id="3" creationId="{8BEA6A75-A1AB-4AF6-A3C8-01AA28DAE025}"/>
          </ac:spMkLst>
        </pc:spChg>
        <pc:spChg chg="add del mod">
          <ac:chgData name="LAURIOZ Hubert" userId="042c0725-f647-406f-add6-64a715f31917" providerId="ADAL" clId="{CCF1308B-4437-4747-B55F-D283937564D0}" dt="2022-06-17T16:37:22.825" v="1783"/>
          <ac:spMkLst>
            <pc:docMk/>
            <pc:sldMk cId="1851580350" sldId="282"/>
            <ac:spMk id="4" creationId="{97C1D73C-35B1-4A02-B08A-47C47F874B4F}"/>
          </ac:spMkLst>
        </pc:spChg>
        <pc:spChg chg="add del mod">
          <ac:chgData name="LAURIOZ Hubert" userId="042c0725-f647-406f-add6-64a715f31917" providerId="ADAL" clId="{CCF1308B-4437-4747-B55F-D283937564D0}" dt="2022-06-17T16:40:33.721" v="1811"/>
          <ac:spMkLst>
            <pc:docMk/>
            <pc:sldMk cId="1851580350" sldId="282"/>
            <ac:spMk id="5" creationId="{F237C44B-C611-4C26-A1AC-914B4EB587C6}"/>
          </ac:spMkLst>
        </pc:spChg>
        <pc:spChg chg="add del ord">
          <ac:chgData name="LAURIOZ Hubert" userId="042c0725-f647-406f-add6-64a715f31917" providerId="ADAL" clId="{CCF1308B-4437-4747-B55F-D283937564D0}" dt="2022-06-17T16:40:33.721" v="1811"/>
          <ac:spMkLst>
            <pc:docMk/>
            <pc:sldMk cId="1851580350" sldId="282"/>
            <ac:spMk id="6" creationId="{D170F493-AB70-456D-9BE9-4B0A48BFE6C4}"/>
          </ac:spMkLst>
        </pc:spChg>
        <pc:spChg chg="add del mod">
          <ac:chgData name="LAURIOZ Hubert" userId="042c0725-f647-406f-add6-64a715f31917" providerId="ADAL" clId="{CCF1308B-4437-4747-B55F-D283937564D0}" dt="2022-06-17T16:40:17.314" v="1805" actId="767"/>
          <ac:spMkLst>
            <pc:docMk/>
            <pc:sldMk cId="1851580350" sldId="282"/>
            <ac:spMk id="7" creationId="{51BC8396-EF83-4F57-8CC6-E6518D15FA17}"/>
          </ac:spMkLst>
        </pc:spChg>
        <pc:spChg chg="del">
          <ac:chgData name="LAURIOZ Hubert" userId="042c0725-f647-406f-add6-64a715f31917" providerId="ADAL" clId="{CCF1308B-4437-4747-B55F-D283937564D0}" dt="2022-06-17T16:35:03.364" v="1748" actId="478"/>
          <ac:spMkLst>
            <pc:docMk/>
            <pc:sldMk cId="1851580350" sldId="282"/>
            <ac:spMk id="19" creationId="{22530049-1AF8-435C-AD2F-2DC5726CB30A}"/>
          </ac:spMkLst>
        </pc:spChg>
        <pc:spChg chg="add del">
          <ac:chgData name="LAURIOZ Hubert" userId="042c0725-f647-406f-add6-64a715f31917" providerId="ADAL" clId="{CCF1308B-4437-4747-B55F-D283937564D0}" dt="2022-06-17T16:35:18.022" v="1751" actId="478"/>
          <ac:spMkLst>
            <pc:docMk/>
            <pc:sldMk cId="1851580350" sldId="282"/>
            <ac:spMk id="22" creationId="{94ED0749-EE75-418D-9580-DFBD72C539E3}"/>
          </ac:spMkLst>
        </pc:spChg>
        <pc:spChg chg="mod">
          <ac:chgData name="LAURIOZ Hubert" userId="042c0725-f647-406f-add6-64a715f31917" providerId="ADAL" clId="{CCF1308B-4437-4747-B55F-D283937564D0}" dt="2022-06-17T16:36:23.072" v="1768"/>
          <ac:spMkLst>
            <pc:docMk/>
            <pc:sldMk cId="1851580350" sldId="282"/>
            <ac:spMk id="23" creationId="{0F01982F-8663-417B-94A1-BFB318C6D48D}"/>
          </ac:spMkLst>
        </pc:spChg>
        <pc:spChg chg="mod">
          <ac:chgData name="LAURIOZ Hubert" userId="042c0725-f647-406f-add6-64a715f31917" providerId="ADAL" clId="{CCF1308B-4437-4747-B55F-D283937564D0}" dt="2022-06-17T16:36:39.581" v="1774"/>
          <ac:spMkLst>
            <pc:docMk/>
            <pc:sldMk cId="1851580350" sldId="282"/>
            <ac:spMk id="24" creationId="{3A550C52-EF29-4A7F-B0FE-87CB74B573C5}"/>
          </ac:spMkLst>
        </pc:spChg>
        <pc:spChg chg="del">
          <ac:chgData name="LAURIOZ Hubert" userId="042c0725-f647-406f-add6-64a715f31917" providerId="ADAL" clId="{CCF1308B-4437-4747-B55F-D283937564D0}" dt="2022-06-17T16:35:33.782" v="1753" actId="478"/>
          <ac:spMkLst>
            <pc:docMk/>
            <pc:sldMk cId="1851580350" sldId="282"/>
            <ac:spMk id="25" creationId="{22B027F3-CE0E-474A-8CBF-CCE6093C2D1E}"/>
          </ac:spMkLst>
        </pc:spChg>
        <pc:spChg chg="del">
          <ac:chgData name="LAURIOZ Hubert" userId="042c0725-f647-406f-add6-64a715f31917" providerId="ADAL" clId="{CCF1308B-4437-4747-B55F-D283937564D0}" dt="2022-06-17T16:35:03.364" v="1748" actId="478"/>
          <ac:spMkLst>
            <pc:docMk/>
            <pc:sldMk cId="1851580350" sldId="282"/>
            <ac:spMk id="26" creationId="{74608986-F30D-4193-8AA5-2D4F505F3CD0}"/>
          </ac:spMkLst>
        </pc:spChg>
        <pc:spChg chg="mod">
          <ac:chgData name="LAURIOZ Hubert" userId="042c0725-f647-406f-add6-64a715f31917" providerId="ADAL" clId="{CCF1308B-4437-4747-B55F-D283937564D0}" dt="2022-06-17T16:37:03.798" v="1778"/>
          <ac:spMkLst>
            <pc:docMk/>
            <pc:sldMk cId="1851580350" sldId="282"/>
            <ac:spMk id="28" creationId="{36173CE2-3F11-422B-A57A-77E386B5C930}"/>
          </ac:spMkLst>
        </pc:spChg>
        <pc:spChg chg="del">
          <ac:chgData name="LAURIOZ Hubert" userId="042c0725-f647-406f-add6-64a715f31917" providerId="ADAL" clId="{CCF1308B-4437-4747-B55F-D283937564D0}" dt="2022-06-17T16:34:58.865" v="1747" actId="478"/>
          <ac:spMkLst>
            <pc:docMk/>
            <pc:sldMk cId="1851580350" sldId="282"/>
            <ac:spMk id="29" creationId="{DD828CCD-FCF1-4A29-83AC-39D9CF8AE16F}"/>
          </ac:spMkLst>
        </pc:spChg>
        <pc:spChg chg="add del mod">
          <ac:chgData name="LAURIOZ Hubert" userId="042c0725-f647-406f-add6-64a715f31917" providerId="ADAL" clId="{CCF1308B-4437-4747-B55F-D283937564D0}" dt="2022-06-17T16:39:11.091" v="1795" actId="478"/>
          <ac:spMkLst>
            <pc:docMk/>
            <pc:sldMk cId="1851580350" sldId="282"/>
            <ac:spMk id="30" creationId="{02BF7B77-4B62-4A4E-BF9F-A62F92E7309E}"/>
          </ac:spMkLst>
        </pc:spChg>
        <pc:spChg chg="del mod">
          <ac:chgData name="LAURIOZ Hubert" userId="042c0725-f647-406f-add6-64a715f31917" providerId="ADAL" clId="{CCF1308B-4437-4747-B55F-D283937564D0}" dt="2022-06-17T16:39:11.091" v="1795" actId="478"/>
          <ac:spMkLst>
            <pc:docMk/>
            <pc:sldMk cId="1851580350" sldId="282"/>
            <ac:spMk id="31" creationId="{AA2B814F-8E05-44CB-BB03-FB4BD9A05D6F}"/>
          </ac:spMkLst>
        </pc:spChg>
        <pc:spChg chg="mod">
          <ac:chgData name="LAURIOZ Hubert" userId="042c0725-f647-406f-add6-64a715f31917" providerId="ADAL" clId="{CCF1308B-4437-4747-B55F-D283937564D0}" dt="2022-06-17T16:40:17.832" v="1806"/>
          <ac:spMkLst>
            <pc:docMk/>
            <pc:sldMk cId="1851580350" sldId="282"/>
            <ac:spMk id="32" creationId="{95843B80-5F29-4BF5-8FC5-A01A5836A215}"/>
          </ac:spMkLst>
        </pc:spChg>
        <pc:spChg chg="mod">
          <ac:chgData name="LAURIOZ Hubert" userId="042c0725-f647-406f-add6-64a715f31917" providerId="ADAL" clId="{CCF1308B-4437-4747-B55F-D283937564D0}" dt="2022-06-17T16:40:30.197" v="1810"/>
          <ac:spMkLst>
            <pc:docMk/>
            <pc:sldMk cId="1851580350" sldId="282"/>
            <ac:spMk id="33" creationId="{47BE29DF-5647-42CD-B0D6-26DB825D6DA4}"/>
          </ac:spMkLst>
        </pc:spChg>
        <pc:spChg chg="mod">
          <ac:chgData name="LAURIOZ Hubert" userId="042c0725-f647-406f-add6-64a715f31917" providerId="ADAL" clId="{CCF1308B-4437-4747-B55F-D283937564D0}" dt="2022-06-17T16:40:35.280" v="1812" actId="1076"/>
          <ac:spMkLst>
            <pc:docMk/>
            <pc:sldMk cId="1851580350" sldId="282"/>
            <ac:spMk id="34" creationId="{9A5E793F-A650-4026-971A-4D6210BF5220}"/>
          </ac:spMkLst>
        </pc:spChg>
        <pc:spChg chg="del">
          <ac:chgData name="LAURIOZ Hubert" userId="042c0725-f647-406f-add6-64a715f31917" providerId="ADAL" clId="{CCF1308B-4437-4747-B55F-D283937564D0}" dt="2022-06-17T16:34:58.865" v="1747" actId="478"/>
          <ac:spMkLst>
            <pc:docMk/>
            <pc:sldMk cId="1851580350" sldId="282"/>
            <ac:spMk id="36" creationId="{C3E3DFC9-C19A-43A9-9C22-F47D256B92F5}"/>
          </ac:spMkLst>
        </pc:spChg>
        <pc:spChg chg="del">
          <ac:chgData name="LAURIOZ Hubert" userId="042c0725-f647-406f-add6-64a715f31917" providerId="ADAL" clId="{CCF1308B-4437-4747-B55F-D283937564D0}" dt="2022-06-17T16:34:58.865" v="1747" actId="478"/>
          <ac:spMkLst>
            <pc:docMk/>
            <pc:sldMk cId="1851580350" sldId="282"/>
            <ac:spMk id="39" creationId="{80643473-3EE3-4CA2-8CCA-3EB7626C95EB}"/>
          </ac:spMkLst>
        </pc:spChg>
        <pc:spChg chg="del">
          <ac:chgData name="LAURIOZ Hubert" userId="042c0725-f647-406f-add6-64a715f31917" providerId="ADAL" clId="{CCF1308B-4437-4747-B55F-D283937564D0}" dt="2022-06-17T16:34:53.451" v="1745" actId="478"/>
          <ac:spMkLst>
            <pc:docMk/>
            <pc:sldMk cId="1851580350" sldId="282"/>
            <ac:spMk id="53" creationId="{EF7EDCBB-A315-4535-BF63-420584119B9B}"/>
          </ac:spMkLst>
        </pc:spChg>
        <pc:spChg chg="del">
          <ac:chgData name="LAURIOZ Hubert" userId="042c0725-f647-406f-add6-64a715f31917" providerId="ADAL" clId="{CCF1308B-4437-4747-B55F-D283937564D0}" dt="2022-06-17T16:34:53.451" v="1745" actId="478"/>
          <ac:spMkLst>
            <pc:docMk/>
            <pc:sldMk cId="1851580350" sldId="282"/>
            <ac:spMk id="54" creationId="{850998A9-D4E6-453E-A209-4ADE26F43B56}"/>
          </ac:spMkLst>
        </pc:spChg>
        <pc:spChg chg="del">
          <ac:chgData name="LAURIOZ Hubert" userId="042c0725-f647-406f-add6-64a715f31917" providerId="ADAL" clId="{CCF1308B-4437-4747-B55F-D283937564D0}" dt="2022-06-17T16:34:53.451" v="1745" actId="478"/>
          <ac:spMkLst>
            <pc:docMk/>
            <pc:sldMk cId="1851580350" sldId="282"/>
            <ac:spMk id="55" creationId="{9C2AF2A8-0C1C-4F87-93AF-FE2C37CEFDB1}"/>
          </ac:spMkLst>
        </pc:spChg>
        <pc:spChg chg="del">
          <ac:chgData name="LAURIOZ Hubert" userId="042c0725-f647-406f-add6-64a715f31917" providerId="ADAL" clId="{CCF1308B-4437-4747-B55F-D283937564D0}" dt="2022-06-17T16:34:53.451" v="1745" actId="478"/>
          <ac:spMkLst>
            <pc:docMk/>
            <pc:sldMk cId="1851580350" sldId="282"/>
            <ac:spMk id="56" creationId="{37D8FB33-3C2C-4049-937B-EA730E47E164}"/>
          </ac:spMkLst>
        </pc:spChg>
        <pc:picChg chg="del">
          <ac:chgData name="LAURIOZ Hubert" userId="042c0725-f647-406f-add6-64a715f31917" providerId="ADAL" clId="{CCF1308B-4437-4747-B55F-D283937564D0}" dt="2022-06-17T16:34:58.865" v="1747" actId="478"/>
          <ac:picMkLst>
            <pc:docMk/>
            <pc:sldMk cId="1851580350" sldId="282"/>
            <ac:picMk id="10" creationId="{0C817A30-A7D6-4363-8391-18DC18E5251A}"/>
          </ac:picMkLst>
        </pc:picChg>
        <pc:picChg chg="del">
          <ac:chgData name="LAURIOZ Hubert" userId="042c0725-f647-406f-add6-64a715f31917" providerId="ADAL" clId="{CCF1308B-4437-4747-B55F-D283937564D0}" dt="2022-06-17T16:34:54.465" v="1746" actId="478"/>
          <ac:picMkLst>
            <pc:docMk/>
            <pc:sldMk cId="1851580350" sldId="282"/>
            <ac:picMk id="11" creationId="{DD511E6B-9220-4D9F-8FD9-518A1A747FC3}"/>
          </ac:picMkLst>
        </pc:picChg>
        <pc:picChg chg="del">
          <ac:chgData name="LAURIOZ Hubert" userId="042c0725-f647-406f-add6-64a715f31917" providerId="ADAL" clId="{CCF1308B-4437-4747-B55F-D283937564D0}" dt="2022-06-17T16:34:53.451" v="1745" actId="478"/>
          <ac:picMkLst>
            <pc:docMk/>
            <pc:sldMk cId="1851580350" sldId="282"/>
            <ac:picMk id="12" creationId="{FA969208-74AA-429E-B845-F8F1C7CEF730}"/>
          </ac:picMkLst>
        </pc:picChg>
        <pc:picChg chg="del">
          <ac:chgData name="LAURIOZ Hubert" userId="042c0725-f647-406f-add6-64a715f31917" providerId="ADAL" clId="{CCF1308B-4437-4747-B55F-D283937564D0}" dt="2022-06-17T16:35:03.364" v="1748" actId="478"/>
          <ac:picMkLst>
            <pc:docMk/>
            <pc:sldMk cId="1851580350" sldId="282"/>
            <ac:picMk id="20" creationId="{A9A5CD54-BC3E-4E76-B4C5-6D55FCB7054C}"/>
          </ac:picMkLst>
        </pc:picChg>
        <pc:picChg chg="del">
          <ac:chgData name="LAURIOZ Hubert" userId="042c0725-f647-406f-add6-64a715f31917" providerId="ADAL" clId="{CCF1308B-4437-4747-B55F-D283937564D0}" dt="2022-06-17T16:35:03.364" v="1748" actId="478"/>
          <ac:picMkLst>
            <pc:docMk/>
            <pc:sldMk cId="1851580350" sldId="282"/>
            <ac:picMk id="21" creationId="{81E3CA0D-458E-469D-BD15-946C63C342E1}"/>
          </ac:picMkLst>
        </pc:picChg>
        <pc:picChg chg="del">
          <ac:chgData name="LAURIOZ Hubert" userId="042c0725-f647-406f-add6-64a715f31917" providerId="ADAL" clId="{CCF1308B-4437-4747-B55F-D283937564D0}" dt="2022-06-17T16:35:03.364" v="1748" actId="478"/>
          <ac:picMkLst>
            <pc:docMk/>
            <pc:sldMk cId="1851580350" sldId="282"/>
            <ac:picMk id="27" creationId="{C21FDFEF-FBAD-4F0F-AEDF-5D1914D2E7B9}"/>
          </ac:picMkLst>
        </pc:picChg>
      </pc:sldChg>
    </pc:docChg>
  </pc:docChgLst>
  <pc:docChgLst>
    <pc:chgData name="TIXIER Francois" userId="776a6eeb-52e0-4e7d-86f2-ecfd5b5be952" providerId="ADAL" clId="{EF534779-6383-433B-B8F6-AF37D7646425}"/>
    <pc:docChg chg="undo redo custSel addSld delSld modSld">
      <pc:chgData name="TIXIER Francois" userId="776a6eeb-52e0-4e7d-86f2-ecfd5b5be952" providerId="ADAL" clId="{EF534779-6383-433B-B8F6-AF37D7646425}" dt="2022-07-12T13:01:55.570" v="310" actId="6549"/>
      <pc:docMkLst>
        <pc:docMk/>
      </pc:docMkLst>
      <pc:sldChg chg="addSp delSp modSp del mod">
        <pc:chgData name="TIXIER Francois" userId="776a6eeb-52e0-4e7d-86f2-ecfd5b5be952" providerId="ADAL" clId="{EF534779-6383-433B-B8F6-AF37D7646425}" dt="2022-07-05T09:12:10.823" v="19" actId="47"/>
        <pc:sldMkLst>
          <pc:docMk/>
          <pc:sldMk cId="2359043163" sldId="275"/>
        </pc:sldMkLst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3" creationId="{8BEA6A75-A1AB-4AF6-A3C8-01AA28DAE025}"/>
          </ac:spMkLst>
        </pc:spChg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19" creationId="{22530049-1AF8-435C-AD2F-2DC5726CB30A}"/>
          </ac:spMkLst>
        </pc:spChg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22" creationId="{94ED0749-EE75-418D-9580-DFBD72C539E3}"/>
          </ac:spMkLst>
        </pc:spChg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26" creationId="{74608986-F30D-4193-8AA5-2D4F505F3CD0}"/>
          </ac:spMkLst>
        </pc:spChg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29" creationId="{DD828CCD-FCF1-4A29-83AC-39D9CF8AE16F}"/>
          </ac:spMkLst>
        </pc:spChg>
        <pc:spChg chg="del">
          <ac:chgData name="TIXIER Francois" userId="776a6eeb-52e0-4e7d-86f2-ecfd5b5be952" providerId="ADAL" clId="{EF534779-6383-433B-B8F6-AF37D7646425}" dt="2022-07-05T09:11:05.890" v="12" actId="478"/>
          <ac:spMkLst>
            <pc:docMk/>
            <pc:sldMk cId="2359043163" sldId="275"/>
            <ac:spMk id="31" creationId="{F13E6DBC-307F-4513-9F12-4B4C92B78AB8}"/>
          </ac:spMkLst>
        </pc:spChg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36" creationId="{C3E3DFC9-C19A-43A9-9C22-F47D256B92F5}"/>
          </ac:spMkLst>
        </pc:spChg>
        <pc:spChg chg="del">
          <ac:chgData name="TIXIER Francois" userId="776a6eeb-52e0-4e7d-86f2-ecfd5b5be952" providerId="ADAL" clId="{EF534779-6383-433B-B8F6-AF37D7646425}" dt="2022-07-05T09:11:23.964" v="13" actId="478"/>
          <ac:spMkLst>
            <pc:docMk/>
            <pc:sldMk cId="2359043163" sldId="275"/>
            <ac:spMk id="39" creationId="{80643473-3EE3-4CA2-8CCA-3EB7626C95EB}"/>
          </ac:spMkLst>
        </pc:spChg>
        <pc:spChg chg="del">
          <ac:chgData name="TIXIER Francois" userId="776a6eeb-52e0-4e7d-86f2-ecfd5b5be952" providerId="ADAL" clId="{EF534779-6383-433B-B8F6-AF37D7646425}" dt="2022-07-05T09:11:05.890" v="12" actId="478"/>
          <ac:spMkLst>
            <pc:docMk/>
            <pc:sldMk cId="2359043163" sldId="275"/>
            <ac:spMk id="54" creationId="{850998A9-D4E6-453E-A209-4ADE26F43B56}"/>
          </ac:spMkLst>
        </pc:spChg>
        <pc:spChg chg="del">
          <ac:chgData name="TIXIER Francois" userId="776a6eeb-52e0-4e7d-86f2-ecfd5b5be952" providerId="ADAL" clId="{EF534779-6383-433B-B8F6-AF37D7646425}" dt="2022-07-05T09:11:05.890" v="12" actId="478"/>
          <ac:spMkLst>
            <pc:docMk/>
            <pc:sldMk cId="2359043163" sldId="275"/>
            <ac:spMk id="55" creationId="{9C2AF2A8-0C1C-4F87-93AF-FE2C37CEFDB1}"/>
          </ac:spMkLst>
        </pc:spChg>
        <pc:spChg chg="del">
          <ac:chgData name="TIXIER Francois" userId="776a6eeb-52e0-4e7d-86f2-ecfd5b5be952" providerId="ADAL" clId="{EF534779-6383-433B-B8F6-AF37D7646425}" dt="2022-07-05T09:11:05.890" v="12" actId="478"/>
          <ac:spMkLst>
            <pc:docMk/>
            <pc:sldMk cId="2359043163" sldId="275"/>
            <ac:spMk id="56" creationId="{37D8FB33-3C2C-4049-937B-EA730E47E164}"/>
          </ac:spMkLst>
        </pc:spChg>
        <pc:picChg chg="del">
          <ac:chgData name="TIXIER Francois" userId="776a6eeb-52e0-4e7d-86f2-ecfd5b5be952" providerId="ADAL" clId="{EF534779-6383-433B-B8F6-AF37D7646425}" dt="2022-07-05T09:11:23.964" v="13" actId="478"/>
          <ac:picMkLst>
            <pc:docMk/>
            <pc:sldMk cId="2359043163" sldId="275"/>
            <ac:picMk id="10" creationId="{0C817A30-A7D6-4363-8391-18DC18E5251A}"/>
          </ac:picMkLst>
        </pc:picChg>
        <pc:picChg chg="del">
          <ac:chgData name="TIXIER Francois" userId="776a6eeb-52e0-4e7d-86f2-ecfd5b5be952" providerId="ADAL" clId="{EF534779-6383-433B-B8F6-AF37D7646425}" dt="2022-07-05T09:11:05.890" v="12" actId="478"/>
          <ac:picMkLst>
            <pc:docMk/>
            <pc:sldMk cId="2359043163" sldId="275"/>
            <ac:picMk id="11" creationId="{DD511E6B-9220-4D9F-8FD9-518A1A747FC3}"/>
          </ac:picMkLst>
        </pc:picChg>
        <pc:picChg chg="del">
          <ac:chgData name="TIXIER Francois" userId="776a6eeb-52e0-4e7d-86f2-ecfd5b5be952" providerId="ADAL" clId="{EF534779-6383-433B-B8F6-AF37D7646425}" dt="2022-07-05T09:11:05.890" v="12" actId="478"/>
          <ac:picMkLst>
            <pc:docMk/>
            <pc:sldMk cId="2359043163" sldId="275"/>
            <ac:picMk id="12" creationId="{FA969208-74AA-429E-B845-F8F1C7CEF730}"/>
          </ac:picMkLst>
        </pc:picChg>
        <pc:picChg chg="del">
          <ac:chgData name="TIXIER Francois" userId="776a6eeb-52e0-4e7d-86f2-ecfd5b5be952" providerId="ADAL" clId="{EF534779-6383-433B-B8F6-AF37D7646425}" dt="2022-07-05T09:11:23.964" v="13" actId="478"/>
          <ac:picMkLst>
            <pc:docMk/>
            <pc:sldMk cId="2359043163" sldId="275"/>
            <ac:picMk id="20" creationId="{A9A5CD54-BC3E-4E76-B4C5-6D55FCB7054C}"/>
          </ac:picMkLst>
        </pc:picChg>
        <pc:picChg chg="del">
          <ac:chgData name="TIXIER Francois" userId="776a6eeb-52e0-4e7d-86f2-ecfd5b5be952" providerId="ADAL" clId="{EF534779-6383-433B-B8F6-AF37D7646425}" dt="2022-07-05T09:11:23.964" v="13" actId="478"/>
          <ac:picMkLst>
            <pc:docMk/>
            <pc:sldMk cId="2359043163" sldId="275"/>
            <ac:picMk id="21" creationId="{81E3CA0D-458E-469D-BD15-946C63C342E1}"/>
          </ac:picMkLst>
        </pc:picChg>
        <pc:picChg chg="add mod">
          <ac:chgData name="TIXIER Francois" userId="776a6eeb-52e0-4e7d-86f2-ecfd5b5be952" providerId="ADAL" clId="{EF534779-6383-433B-B8F6-AF37D7646425}" dt="2022-07-05T09:11:29.681" v="15" actId="1076"/>
          <ac:picMkLst>
            <pc:docMk/>
            <pc:sldMk cId="2359043163" sldId="275"/>
            <ac:picMk id="23" creationId="{702BA2B3-2131-4F68-8F67-860A1D87D9EC}"/>
          </ac:picMkLst>
        </pc:picChg>
        <pc:picChg chg="add mod">
          <ac:chgData name="TIXIER Francois" userId="776a6eeb-52e0-4e7d-86f2-ecfd5b5be952" providerId="ADAL" clId="{EF534779-6383-433B-B8F6-AF37D7646425}" dt="2022-07-05T09:11:29.681" v="15" actId="1076"/>
          <ac:picMkLst>
            <pc:docMk/>
            <pc:sldMk cId="2359043163" sldId="275"/>
            <ac:picMk id="24" creationId="{D7495AA0-E27B-41B8-B549-A73831147353}"/>
          </ac:picMkLst>
        </pc:picChg>
        <pc:picChg chg="del">
          <ac:chgData name="TIXIER Francois" userId="776a6eeb-52e0-4e7d-86f2-ecfd5b5be952" providerId="ADAL" clId="{EF534779-6383-433B-B8F6-AF37D7646425}" dt="2022-07-05T09:11:23.964" v="13" actId="478"/>
          <ac:picMkLst>
            <pc:docMk/>
            <pc:sldMk cId="2359043163" sldId="275"/>
            <ac:picMk id="27" creationId="{C21FDFEF-FBAD-4F0F-AEDF-5D1914D2E7B9}"/>
          </ac:picMkLst>
        </pc:picChg>
      </pc:sldChg>
      <pc:sldChg chg="addSp delSp modSp mod">
        <pc:chgData name="TIXIER Francois" userId="776a6eeb-52e0-4e7d-86f2-ecfd5b5be952" providerId="ADAL" clId="{EF534779-6383-433B-B8F6-AF37D7646425}" dt="2022-07-12T12:19:40.661" v="309" actId="20577"/>
        <pc:sldMkLst>
          <pc:docMk/>
          <pc:sldMk cId="263765170" sldId="279"/>
        </pc:sldMkLst>
        <pc:spChg chg="mod">
          <ac:chgData name="TIXIER Francois" userId="776a6eeb-52e0-4e7d-86f2-ecfd5b5be952" providerId="ADAL" clId="{EF534779-6383-433B-B8F6-AF37D7646425}" dt="2022-07-05T09:12:42.393" v="66" actId="20577"/>
          <ac:spMkLst>
            <pc:docMk/>
            <pc:sldMk cId="263765170" sldId="279"/>
            <ac:spMk id="2" creationId="{22D24C96-7543-474E-B00F-BCD0EF9041EE}"/>
          </ac:spMkLst>
        </pc:spChg>
        <pc:spChg chg="mod">
          <ac:chgData name="TIXIER Francois" userId="776a6eeb-52e0-4e7d-86f2-ecfd5b5be952" providerId="ADAL" clId="{EF534779-6383-433B-B8F6-AF37D7646425}" dt="2022-07-05T09:42:19.198" v="129" actId="164"/>
          <ac:spMkLst>
            <pc:docMk/>
            <pc:sldMk cId="263765170" sldId="279"/>
            <ac:spMk id="4" creationId="{CD3D970C-77AE-4A68-922C-8026907A284C}"/>
          </ac:spMkLst>
        </pc:spChg>
        <pc:spChg chg="del mod">
          <ac:chgData name="TIXIER Francois" userId="776a6eeb-52e0-4e7d-86f2-ecfd5b5be952" providerId="ADAL" clId="{EF534779-6383-433B-B8F6-AF37D7646425}" dt="2022-07-05T09:42:30.130" v="133" actId="478"/>
          <ac:spMkLst>
            <pc:docMk/>
            <pc:sldMk cId="263765170" sldId="279"/>
            <ac:spMk id="11" creationId="{4310A109-750C-463C-A44F-CE0096C43ED2}"/>
          </ac:spMkLst>
        </pc:spChg>
        <pc:spChg chg="add mod">
          <ac:chgData name="TIXIER Francois" userId="776a6eeb-52e0-4e7d-86f2-ecfd5b5be952" providerId="ADAL" clId="{EF534779-6383-433B-B8F6-AF37D7646425}" dt="2022-07-12T12:19:40.661" v="309" actId="20577"/>
          <ac:spMkLst>
            <pc:docMk/>
            <pc:sldMk cId="263765170" sldId="279"/>
            <ac:spMk id="11" creationId="{F4384E31-9C20-4C8C-AAE6-33D3A9BB7387}"/>
          </ac:spMkLst>
        </pc:spChg>
        <pc:spChg chg="del">
          <ac:chgData name="TIXIER Francois" userId="776a6eeb-52e0-4e7d-86f2-ecfd5b5be952" providerId="ADAL" clId="{EF534779-6383-433B-B8F6-AF37D7646425}" dt="2022-07-05T09:42:04.648" v="127" actId="478"/>
          <ac:spMkLst>
            <pc:docMk/>
            <pc:sldMk cId="263765170" sldId="279"/>
            <ac:spMk id="12" creationId="{181C4A69-1AE6-47F0-9224-EED317ADCD7D}"/>
          </ac:spMkLst>
        </pc:spChg>
        <pc:spChg chg="del">
          <ac:chgData name="TIXIER Francois" userId="776a6eeb-52e0-4e7d-86f2-ecfd5b5be952" providerId="ADAL" clId="{EF534779-6383-433B-B8F6-AF37D7646425}" dt="2022-07-05T09:12:48.886" v="67" actId="478"/>
          <ac:spMkLst>
            <pc:docMk/>
            <pc:sldMk cId="263765170" sldId="279"/>
            <ac:spMk id="17" creationId="{C7A010E6-92E4-4874-B5C2-5BBA4BCB76B4}"/>
          </ac:spMkLst>
        </pc:spChg>
        <pc:spChg chg="del">
          <ac:chgData name="TIXIER Francois" userId="776a6eeb-52e0-4e7d-86f2-ecfd5b5be952" providerId="ADAL" clId="{EF534779-6383-433B-B8F6-AF37D7646425}" dt="2022-07-05T09:12:56.012" v="69" actId="478"/>
          <ac:spMkLst>
            <pc:docMk/>
            <pc:sldMk cId="263765170" sldId="279"/>
            <ac:spMk id="22" creationId="{AF807B32-7854-4555-8207-A55854D37866}"/>
          </ac:spMkLst>
        </pc:spChg>
        <pc:spChg chg="add del mod">
          <ac:chgData name="TIXIER Francois" userId="776a6eeb-52e0-4e7d-86f2-ecfd5b5be952" providerId="ADAL" clId="{EF534779-6383-433B-B8F6-AF37D7646425}" dt="2022-07-05T09:19:03.813" v="104" actId="478"/>
          <ac:spMkLst>
            <pc:docMk/>
            <pc:sldMk cId="263765170" sldId="279"/>
            <ac:spMk id="24" creationId="{C489ED0F-5B39-4573-BADD-C5B81DC6CB7B}"/>
          </ac:spMkLst>
        </pc:spChg>
        <pc:spChg chg="del mod">
          <ac:chgData name="TIXIER Francois" userId="776a6eeb-52e0-4e7d-86f2-ecfd5b5be952" providerId="ADAL" clId="{EF534779-6383-433B-B8F6-AF37D7646425}" dt="2022-07-05T09:42:00.981" v="126" actId="478"/>
          <ac:spMkLst>
            <pc:docMk/>
            <pc:sldMk cId="263765170" sldId="279"/>
            <ac:spMk id="26" creationId="{0E3745F0-8EEF-4614-91BB-053B5DC50958}"/>
          </ac:spMkLst>
        </pc:spChg>
        <pc:spChg chg="mod">
          <ac:chgData name="TIXIER Francois" userId="776a6eeb-52e0-4e7d-86f2-ecfd5b5be952" providerId="ADAL" clId="{EF534779-6383-433B-B8F6-AF37D7646425}" dt="2022-07-05T09:42:19.198" v="129" actId="164"/>
          <ac:spMkLst>
            <pc:docMk/>
            <pc:sldMk cId="263765170" sldId="279"/>
            <ac:spMk id="27" creationId="{2EC46C95-F4D5-4B92-89B5-0DF712E5F31C}"/>
          </ac:spMkLst>
        </pc:spChg>
        <pc:spChg chg="mod">
          <ac:chgData name="TIXIER Francois" userId="776a6eeb-52e0-4e7d-86f2-ecfd5b5be952" providerId="ADAL" clId="{EF534779-6383-433B-B8F6-AF37D7646425}" dt="2022-07-05T09:42:19.198" v="129" actId="164"/>
          <ac:spMkLst>
            <pc:docMk/>
            <pc:sldMk cId="263765170" sldId="279"/>
            <ac:spMk id="28" creationId="{767D7717-AC37-4545-AA23-CADB80378425}"/>
          </ac:spMkLst>
        </pc:spChg>
        <pc:spChg chg="mod">
          <ac:chgData name="TIXIER Francois" userId="776a6eeb-52e0-4e7d-86f2-ecfd5b5be952" providerId="ADAL" clId="{EF534779-6383-433B-B8F6-AF37D7646425}" dt="2022-07-05T09:42:19.198" v="129" actId="164"/>
          <ac:spMkLst>
            <pc:docMk/>
            <pc:sldMk cId="263765170" sldId="279"/>
            <ac:spMk id="29" creationId="{6790621D-BC3F-496D-9488-8FAFFD5831C9}"/>
          </ac:spMkLst>
        </pc:spChg>
        <pc:spChg chg="mod">
          <ac:chgData name="TIXIER Francois" userId="776a6eeb-52e0-4e7d-86f2-ecfd5b5be952" providerId="ADAL" clId="{EF534779-6383-433B-B8F6-AF37D7646425}" dt="2022-07-05T09:42:19.198" v="129" actId="164"/>
          <ac:spMkLst>
            <pc:docMk/>
            <pc:sldMk cId="263765170" sldId="279"/>
            <ac:spMk id="30" creationId="{2E69D75F-3F2E-49DD-B0C1-E8C92424345D}"/>
          </ac:spMkLst>
        </pc:spChg>
        <pc:spChg chg="del">
          <ac:chgData name="TIXIER Francois" userId="776a6eeb-52e0-4e7d-86f2-ecfd5b5be952" providerId="ADAL" clId="{EF534779-6383-433B-B8F6-AF37D7646425}" dt="2022-07-05T09:12:52.979" v="68" actId="478"/>
          <ac:spMkLst>
            <pc:docMk/>
            <pc:sldMk cId="263765170" sldId="279"/>
            <ac:spMk id="35" creationId="{4F59CD20-BFD5-4EA5-9CA0-AFA61396BFDD}"/>
          </ac:spMkLst>
        </pc:spChg>
        <pc:grpChg chg="mod">
          <ac:chgData name="TIXIER Francois" userId="776a6eeb-52e0-4e7d-86f2-ecfd5b5be952" providerId="ADAL" clId="{EF534779-6383-433B-B8F6-AF37D7646425}" dt="2022-07-05T09:42:19.198" v="129" actId="164"/>
          <ac:grpSpMkLst>
            <pc:docMk/>
            <pc:sldMk cId="263765170" sldId="279"/>
            <ac:grpSpMk id="3" creationId="{D72B052A-3527-4034-8448-62744F887DA6}"/>
          </ac:grpSpMkLst>
        </pc:grpChg>
        <pc:grpChg chg="add mod">
          <ac:chgData name="TIXIER Francois" userId="776a6eeb-52e0-4e7d-86f2-ecfd5b5be952" providerId="ADAL" clId="{EF534779-6383-433B-B8F6-AF37D7646425}" dt="2022-07-05T09:42:41.619" v="137" actId="1076"/>
          <ac:grpSpMkLst>
            <pc:docMk/>
            <pc:sldMk cId="263765170" sldId="279"/>
            <ac:grpSpMk id="9" creationId="{494B8CCD-2A62-49BF-B9E4-E16375FF83B6}"/>
          </ac:grpSpMkLst>
        </pc:grpChg>
        <pc:picChg chg="add mod">
          <ac:chgData name="TIXIER Francois" userId="776a6eeb-52e0-4e7d-86f2-ecfd5b5be952" providerId="ADAL" clId="{EF534779-6383-433B-B8F6-AF37D7646425}" dt="2022-07-05T09:42:41.619" v="137" actId="1076"/>
          <ac:picMkLst>
            <pc:docMk/>
            <pc:sldMk cId="263765170" sldId="279"/>
            <ac:picMk id="8" creationId="{EA772812-D49F-47A4-811A-7FAF83B87446}"/>
          </ac:picMkLst>
        </pc:picChg>
        <pc:picChg chg="del">
          <ac:chgData name="TIXIER Francois" userId="776a6eeb-52e0-4e7d-86f2-ecfd5b5be952" providerId="ADAL" clId="{EF534779-6383-433B-B8F6-AF37D7646425}" dt="2022-07-05T09:12:58.857" v="70" actId="478"/>
          <ac:picMkLst>
            <pc:docMk/>
            <pc:sldMk cId="263765170" sldId="279"/>
            <ac:picMk id="18" creationId="{37B04F6B-AA4B-4B4E-9CA0-AE586955B2C8}"/>
          </ac:picMkLst>
        </pc:picChg>
        <pc:picChg chg="mod">
          <ac:chgData name="TIXIER Francois" userId="776a6eeb-52e0-4e7d-86f2-ecfd5b5be952" providerId="ADAL" clId="{EF534779-6383-433B-B8F6-AF37D7646425}" dt="2022-07-05T09:42:19.198" v="129" actId="164"/>
          <ac:picMkLst>
            <pc:docMk/>
            <pc:sldMk cId="263765170" sldId="279"/>
            <ac:picMk id="31" creationId="{730088AD-9E10-404E-A436-06A5C05BCE70}"/>
          </ac:picMkLst>
        </pc:picChg>
        <pc:picChg chg="mod">
          <ac:chgData name="TIXIER Francois" userId="776a6eeb-52e0-4e7d-86f2-ecfd5b5be952" providerId="ADAL" clId="{EF534779-6383-433B-B8F6-AF37D7646425}" dt="2022-07-05T09:42:19.198" v="129" actId="164"/>
          <ac:picMkLst>
            <pc:docMk/>
            <pc:sldMk cId="263765170" sldId="279"/>
            <ac:picMk id="32" creationId="{70DAB1A9-2DB0-485A-B74B-A57C00D9E9ED}"/>
          </ac:picMkLst>
        </pc:picChg>
        <pc:picChg chg="mod">
          <ac:chgData name="TIXIER Francois" userId="776a6eeb-52e0-4e7d-86f2-ecfd5b5be952" providerId="ADAL" clId="{EF534779-6383-433B-B8F6-AF37D7646425}" dt="2022-07-05T09:42:19.198" v="129" actId="164"/>
          <ac:picMkLst>
            <pc:docMk/>
            <pc:sldMk cId="263765170" sldId="279"/>
            <ac:picMk id="33" creationId="{A4A8D6BD-9C55-4EA1-99E3-23D4BB82494D}"/>
          </ac:picMkLst>
        </pc:picChg>
        <pc:picChg chg="mod">
          <ac:chgData name="TIXIER Francois" userId="776a6eeb-52e0-4e7d-86f2-ecfd5b5be952" providerId="ADAL" clId="{EF534779-6383-433B-B8F6-AF37D7646425}" dt="2022-07-05T09:42:19.198" v="129" actId="164"/>
          <ac:picMkLst>
            <pc:docMk/>
            <pc:sldMk cId="263765170" sldId="279"/>
            <ac:picMk id="34" creationId="{15045831-C71D-4FDC-AA81-09A0C0708527}"/>
          </ac:picMkLst>
        </pc:picChg>
        <pc:picChg chg="add mod">
          <ac:chgData name="TIXIER Francois" userId="776a6eeb-52e0-4e7d-86f2-ecfd5b5be952" providerId="ADAL" clId="{EF534779-6383-433B-B8F6-AF37D7646425}" dt="2022-07-12T11:59:31.448" v="215" actId="1076"/>
          <ac:picMkLst>
            <pc:docMk/>
            <pc:sldMk cId="263765170" sldId="279"/>
            <ac:picMk id="35" creationId="{F2691C6B-BC54-4BAD-B54E-A00B06780B5F}"/>
          </ac:picMkLst>
        </pc:picChg>
      </pc:sldChg>
      <pc:sldChg chg="del">
        <pc:chgData name="TIXIER Francois" userId="776a6eeb-52e0-4e7d-86f2-ecfd5b5be952" providerId="ADAL" clId="{EF534779-6383-433B-B8F6-AF37D7646425}" dt="2022-07-05T09:09:11.494" v="1" actId="47"/>
        <pc:sldMkLst>
          <pc:docMk/>
          <pc:sldMk cId="2706805019" sldId="280"/>
        </pc:sldMkLst>
      </pc:sldChg>
      <pc:sldChg chg="addSp delSp modSp add mod">
        <pc:chgData name="TIXIER Francois" userId="776a6eeb-52e0-4e7d-86f2-ecfd5b5be952" providerId="ADAL" clId="{EF534779-6383-433B-B8F6-AF37D7646425}" dt="2022-07-12T13:01:55.570" v="310" actId="6549"/>
        <pc:sldMkLst>
          <pc:docMk/>
          <pc:sldMk cId="2882149176" sldId="280"/>
        </pc:sldMkLst>
        <pc:spChg chg="del">
          <ac:chgData name="TIXIER Francois" userId="776a6eeb-52e0-4e7d-86f2-ecfd5b5be952" providerId="ADAL" clId="{EF534779-6383-433B-B8F6-AF37D7646425}" dt="2022-07-05T10:11:54.179" v="180" actId="478"/>
          <ac:spMkLst>
            <pc:docMk/>
            <pc:sldMk cId="2882149176" sldId="280"/>
            <ac:spMk id="2" creationId="{22D24C96-7543-474E-B00F-BCD0EF9041EE}"/>
          </ac:spMkLst>
        </pc:spChg>
        <pc:spChg chg="add mod">
          <ac:chgData name="TIXIER Francois" userId="776a6eeb-52e0-4e7d-86f2-ecfd5b5be952" providerId="ADAL" clId="{EF534779-6383-433B-B8F6-AF37D7646425}" dt="2022-07-12T13:01:55.570" v="310" actId="6549"/>
          <ac:spMkLst>
            <pc:docMk/>
            <pc:sldMk cId="2882149176" sldId="280"/>
            <ac:spMk id="11" creationId="{F6863C3C-F6BD-4868-9563-0D508A26DB2E}"/>
          </ac:spMkLst>
        </pc:spChg>
        <pc:spChg chg="del">
          <ac:chgData name="TIXIER Francois" userId="776a6eeb-52e0-4e7d-86f2-ecfd5b5be952" providerId="ADAL" clId="{EF534779-6383-433B-B8F6-AF37D7646425}" dt="2022-07-05T10:11:54.179" v="180" actId="478"/>
          <ac:spMkLst>
            <pc:docMk/>
            <pc:sldMk cId="2882149176" sldId="280"/>
            <ac:spMk id="23" creationId="{904A74E1-87FB-4FFF-BC99-7A1738BD5217}"/>
          </ac:spMkLst>
        </pc:spChg>
        <pc:spChg chg="add mod">
          <ac:chgData name="TIXIER Francois" userId="776a6eeb-52e0-4e7d-86f2-ecfd5b5be952" providerId="ADAL" clId="{EF534779-6383-433B-B8F6-AF37D7646425}" dt="2022-07-05T10:14:45.331" v="211" actId="207"/>
          <ac:spMkLst>
            <pc:docMk/>
            <pc:sldMk cId="2882149176" sldId="280"/>
            <ac:spMk id="26" creationId="{699D8396-D335-403D-8980-33CEC1ED9A18}"/>
          </ac:spMkLst>
        </pc:spChg>
        <pc:spChg chg="add del mod">
          <ac:chgData name="TIXIER Francois" userId="776a6eeb-52e0-4e7d-86f2-ecfd5b5be952" providerId="ADAL" clId="{EF534779-6383-433B-B8F6-AF37D7646425}" dt="2022-07-05T10:14:06.518" v="202" actId="478"/>
          <ac:spMkLst>
            <pc:docMk/>
            <pc:sldMk cId="2882149176" sldId="280"/>
            <ac:spMk id="36" creationId="{53701B92-4E93-431D-89A7-4C9126E78EDF}"/>
          </ac:spMkLst>
        </pc:spChg>
        <pc:spChg chg="add mod">
          <ac:chgData name="TIXIER Francois" userId="776a6eeb-52e0-4e7d-86f2-ecfd5b5be952" providerId="ADAL" clId="{EF534779-6383-433B-B8F6-AF37D7646425}" dt="2022-07-05T10:14:22.951" v="207" actId="404"/>
          <ac:spMkLst>
            <pc:docMk/>
            <pc:sldMk cId="2882149176" sldId="280"/>
            <ac:spMk id="37" creationId="{BE6CEB25-9EB3-4338-A8EB-143A496EB71B}"/>
          </ac:spMkLst>
        </pc:spChg>
        <pc:grpChg chg="del">
          <ac:chgData name="TIXIER Francois" userId="776a6eeb-52e0-4e7d-86f2-ecfd5b5be952" providerId="ADAL" clId="{EF534779-6383-433B-B8F6-AF37D7646425}" dt="2022-07-05T10:08:23.314" v="143" actId="478"/>
          <ac:grpSpMkLst>
            <pc:docMk/>
            <pc:sldMk cId="2882149176" sldId="280"/>
            <ac:grpSpMk id="9" creationId="{494B8CCD-2A62-49BF-B9E4-E16375FF83B6}"/>
          </ac:grpSpMkLst>
        </pc:grpChg>
        <pc:picChg chg="del">
          <ac:chgData name="TIXIER Francois" userId="776a6eeb-52e0-4e7d-86f2-ecfd5b5be952" providerId="ADAL" clId="{EF534779-6383-433B-B8F6-AF37D7646425}" dt="2022-07-05T10:08:20.589" v="142" actId="478"/>
          <ac:picMkLst>
            <pc:docMk/>
            <pc:sldMk cId="2882149176" sldId="280"/>
            <ac:picMk id="8" creationId="{EA772812-D49F-47A4-811A-7FAF83B87446}"/>
          </ac:picMkLst>
        </pc:picChg>
        <pc:picChg chg="del">
          <ac:chgData name="TIXIER Francois" userId="776a6eeb-52e0-4e7d-86f2-ecfd5b5be952" providerId="ADAL" clId="{EF534779-6383-433B-B8F6-AF37D7646425}" dt="2022-07-05T10:11:54.179" v="180" actId="478"/>
          <ac:picMkLst>
            <pc:docMk/>
            <pc:sldMk cId="2882149176" sldId="280"/>
            <ac:picMk id="10" creationId="{D15A2E60-ADAB-4406-92E8-9AA432FDAF24}"/>
          </ac:picMkLst>
        </pc:picChg>
        <pc:picChg chg="del">
          <ac:chgData name="TIXIER Francois" userId="776a6eeb-52e0-4e7d-86f2-ecfd5b5be952" providerId="ADAL" clId="{EF534779-6383-433B-B8F6-AF37D7646425}" dt="2022-07-05T10:11:54.179" v="180" actId="478"/>
          <ac:picMkLst>
            <pc:docMk/>
            <pc:sldMk cId="2882149176" sldId="280"/>
            <ac:picMk id="14" creationId="{48C91AA5-2DD9-46BC-8804-B11498E59D88}"/>
          </ac:picMkLst>
        </pc:picChg>
        <pc:picChg chg="del">
          <ac:chgData name="TIXIER Francois" userId="776a6eeb-52e0-4e7d-86f2-ecfd5b5be952" providerId="ADAL" clId="{EF534779-6383-433B-B8F6-AF37D7646425}" dt="2022-07-05T10:08:19.300" v="141" actId="478"/>
          <ac:picMkLst>
            <pc:docMk/>
            <pc:sldMk cId="2882149176" sldId="280"/>
            <ac:picMk id="35" creationId="{F2691C6B-BC54-4BAD-B54E-A00B06780B5F}"/>
          </ac:picMkLst>
        </pc:picChg>
        <pc:picChg chg="add mod">
          <ac:chgData name="TIXIER Francois" userId="776a6eeb-52e0-4e7d-86f2-ecfd5b5be952" providerId="ADAL" clId="{EF534779-6383-433B-B8F6-AF37D7646425}" dt="2022-07-05T10:12:37.706" v="186" actId="1076"/>
          <ac:picMkLst>
            <pc:docMk/>
            <pc:sldMk cId="2882149176" sldId="280"/>
            <ac:picMk id="1027" creationId="{9D9CCBD9-29DE-48D0-8B7E-9CACB79556B4}"/>
          </ac:picMkLst>
        </pc:picChg>
      </pc:sldChg>
      <pc:sldChg chg="addSp delSp modSp del mod">
        <pc:chgData name="TIXIER Francois" userId="776a6eeb-52e0-4e7d-86f2-ecfd5b5be952" providerId="ADAL" clId="{EF534779-6383-433B-B8F6-AF37D7646425}" dt="2022-07-05T09:41:52.560" v="125" actId="47"/>
        <pc:sldMkLst>
          <pc:docMk/>
          <pc:sldMk cId="2425911984" sldId="281"/>
        </pc:sldMkLst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8" creationId="{FC9B6322-A567-4423-895B-9BEB693DC8CC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10" creationId="{0E57E31F-A7EB-4223-89D1-5D46B5CE38DC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11" creationId="{9D619875-1021-48C3-8D0D-0DE4796F4984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12" creationId="{DEFDECE6-BCDC-4149-B7BE-80C04B5462E0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13" creationId="{3CEAA76F-209B-414E-BC9A-2A6C15F752BC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14" creationId="{504305EE-43D8-4022-B0EA-EDDA9D2A6535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20" creationId="{A321D76A-F6EA-4D2C-BA1D-2394EC7E8C48}"/>
          </ac:spMkLst>
        </pc:spChg>
        <pc:spChg chg="del">
          <ac:chgData name="TIXIER Francois" userId="776a6eeb-52e0-4e7d-86f2-ecfd5b5be952" providerId="ADAL" clId="{EF534779-6383-433B-B8F6-AF37D7646425}" dt="2022-07-05T09:09:07.524" v="0" actId="478"/>
          <ac:spMkLst>
            <pc:docMk/>
            <pc:sldMk cId="2425911984" sldId="281"/>
            <ac:spMk id="37" creationId="{6EC800BA-8275-4F26-BBD6-721A77B7F255}"/>
          </ac:spMkLst>
        </pc:spChg>
        <pc:grpChg chg="add mod">
          <ac:chgData name="TIXIER Francois" userId="776a6eeb-52e0-4e7d-86f2-ecfd5b5be952" providerId="ADAL" clId="{EF534779-6383-433B-B8F6-AF37D7646425}" dt="2022-07-05T09:11:56.962" v="18" actId="1076"/>
          <ac:grpSpMkLst>
            <pc:docMk/>
            <pc:sldMk cId="2425911984" sldId="281"/>
            <ac:grpSpMk id="2" creationId="{32F01CBB-44D7-4851-9C55-5A2F7EB164E8}"/>
          </ac:grpSpMkLst>
        </pc:grpChg>
        <pc:picChg chg="del">
          <ac:chgData name="TIXIER Francois" userId="776a6eeb-52e0-4e7d-86f2-ecfd5b5be952" providerId="ADAL" clId="{EF534779-6383-433B-B8F6-AF37D7646425}" dt="2022-07-05T09:09:07.524" v="0" actId="478"/>
          <ac:picMkLst>
            <pc:docMk/>
            <pc:sldMk cId="2425911984" sldId="281"/>
            <ac:picMk id="4" creationId="{AC8D1087-B845-4E2D-A5E8-165FBF484416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16" creationId="{7093DB3E-6EB1-4718-A5A7-09D20E93EE3C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17" creationId="{2E62F926-390A-49EB-B704-59E1BE49D30A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18" creationId="{ECB6E8CF-7A88-45D2-AB96-E7A9F7545155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19" creationId="{75F1D2A5-2247-4ADD-B34D-1E3612F8CBB0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1" creationId="{7E8A1207-B772-4A48-AEF6-83116B29E005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2" creationId="{62043EF9-873D-4F32-B386-F303895624A1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3" creationId="{7F8E37EA-5044-4E2B-A414-0D5B92295E32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4" creationId="{B10F054F-2D06-46B1-AC59-4618ECC3AAC0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5" creationId="{F917D04C-BE40-42CD-9B72-1B546CF28DBC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6" creationId="{E449B0C3-F525-479D-B7E4-A84F7926A54A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7" creationId="{05BA91E5-6208-4C78-8753-8368033EEDDE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8" creationId="{A48B9D41-7535-40C6-A9BD-C4E69C8DB8E6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29" creationId="{E7B91104-996F-4C13-A086-1CB265285512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30" creationId="{321FDF0F-9234-4E97-BF4D-A37D21F0B745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31" creationId="{AAC80D68-E405-4216-8184-4366483C2B89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32" creationId="{5FB6D570-AEBE-49FC-B77A-682B8A0FFD82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33" creationId="{EC12C1AA-32FA-4A40-886F-61841B480F7D}"/>
          </ac:picMkLst>
        </pc:picChg>
        <pc:picChg chg="add mod">
          <ac:chgData name="TIXIER Francois" userId="776a6eeb-52e0-4e7d-86f2-ecfd5b5be952" providerId="ADAL" clId="{EF534779-6383-433B-B8F6-AF37D7646425}" dt="2022-07-05T09:11:52.553" v="16" actId="164"/>
          <ac:picMkLst>
            <pc:docMk/>
            <pc:sldMk cId="2425911984" sldId="281"/>
            <ac:picMk id="34" creationId="{CBD5B2AE-91B9-4733-9C8D-0A102A19D02A}"/>
          </ac:picMkLst>
        </pc:picChg>
      </pc:sldChg>
    </pc:docChg>
  </pc:docChgLst>
  <pc:docChgLst>
    <pc:chgData name="LAURIOZ Hubert" userId="042c0725-f647-406f-add6-64a715f31917" providerId="ADAL" clId="{A17F5E8B-4FE8-40E9-BFA6-0B85FF8C210A}"/>
    <pc:docChg chg="undo redo custSel addSld modSld sldOrd">
      <pc:chgData name="LAURIOZ Hubert" userId="042c0725-f647-406f-add6-64a715f31917" providerId="ADAL" clId="{A17F5E8B-4FE8-40E9-BFA6-0B85FF8C210A}" dt="2022-04-12T13:16:21.932" v="6714" actId="1038"/>
      <pc:docMkLst>
        <pc:docMk/>
      </pc:docMkLst>
      <pc:sldChg chg="delSp modSp mod">
        <pc:chgData name="LAURIOZ Hubert" userId="042c0725-f647-406f-add6-64a715f31917" providerId="ADAL" clId="{A17F5E8B-4FE8-40E9-BFA6-0B85FF8C210A}" dt="2022-04-12T13:10:05.812" v="6668" actId="20577"/>
        <pc:sldMkLst>
          <pc:docMk/>
          <pc:sldMk cId="3961122517" sldId="267"/>
        </pc:sldMkLst>
        <pc:spChg chg="mod">
          <ac:chgData name="LAURIOZ Hubert" userId="042c0725-f647-406f-add6-64a715f31917" providerId="ADAL" clId="{A17F5E8B-4FE8-40E9-BFA6-0B85FF8C210A}" dt="2022-04-12T13:08:42.240" v="6667" actId="20577"/>
          <ac:spMkLst>
            <pc:docMk/>
            <pc:sldMk cId="3961122517" sldId="267"/>
            <ac:spMk id="6" creationId="{16AA4776-EF33-4C1F-B471-CADD54573F20}"/>
          </ac:spMkLst>
        </pc:spChg>
        <pc:spChg chg="mod">
          <ac:chgData name="LAURIOZ Hubert" userId="042c0725-f647-406f-add6-64a715f31917" providerId="ADAL" clId="{A17F5E8B-4FE8-40E9-BFA6-0B85FF8C210A}" dt="2022-04-12T13:10:05.812" v="6668" actId="20577"/>
          <ac:spMkLst>
            <pc:docMk/>
            <pc:sldMk cId="3961122517" sldId="267"/>
            <ac:spMk id="11" creationId="{4310A109-750C-463C-A44F-CE0096C43ED2}"/>
          </ac:spMkLst>
        </pc:spChg>
        <pc:spChg chg="mod">
          <ac:chgData name="LAURIOZ Hubert" userId="042c0725-f647-406f-add6-64a715f31917" providerId="ADAL" clId="{A17F5E8B-4FE8-40E9-BFA6-0B85FF8C210A}" dt="2022-04-07T15:39:33.155" v="4464" actId="1036"/>
          <ac:spMkLst>
            <pc:docMk/>
            <pc:sldMk cId="3961122517" sldId="267"/>
            <ac:spMk id="12" creationId="{181C4A69-1AE6-47F0-9224-EED317ADCD7D}"/>
          </ac:spMkLst>
        </pc:spChg>
        <pc:spChg chg="mod">
          <ac:chgData name="LAURIOZ Hubert" userId="042c0725-f647-406f-add6-64a715f31917" providerId="ADAL" clId="{A17F5E8B-4FE8-40E9-BFA6-0B85FF8C210A}" dt="2022-04-07T16:05:57.906" v="5107" actId="1035"/>
          <ac:spMkLst>
            <pc:docMk/>
            <pc:sldMk cId="3961122517" sldId="267"/>
            <ac:spMk id="16" creationId="{ACE5363E-2F26-495D-B472-A2E8766DA8EC}"/>
          </ac:spMkLst>
        </pc:spChg>
        <pc:spChg chg="del mod">
          <ac:chgData name="LAURIOZ Hubert" userId="042c0725-f647-406f-add6-64a715f31917" providerId="ADAL" clId="{A17F5E8B-4FE8-40E9-BFA6-0B85FF8C210A}" dt="2022-04-07T14:12:51.237" v="3090" actId="478"/>
          <ac:spMkLst>
            <pc:docMk/>
            <pc:sldMk cId="3961122517" sldId="267"/>
            <ac:spMk id="18" creationId="{576DB849-E641-4BEE-8EA7-BD3EE119EF61}"/>
          </ac:spMkLst>
        </pc:spChg>
        <pc:spChg chg="mod">
          <ac:chgData name="LAURIOZ Hubert" userId="042c0725-f647-406f-add6-64a715f31917" providerId="ADAL" clId="{A17F5E8B-4FE8-40E9-BFA6-0B85FF8C210A}" dt="2022-04-07T16:06:12.284" v="5130" actId="1035"/>
          <ac:spMkLst>
            <pc:docMk/>
            <pc:sldMk cId="3961122517" sldId="267"/>
            <ac:spMk id="26" creationId="{0E3745F0-8EEF-4614-91BB-053B5DC50958}"/>
          </ac:spMkLst>
        </pc:spChg>
        <pc:grpChg chg="mod">
          <ac:chgData name="LAURIOZ Hubert" userId="042c0725-f647-406f-add6-64a715f31917" providerId="ADAL" clId="{A17F5E8B-4FE8-40E9-BFA6-0B85FF8C210A}" dt="2022-04-07T16:06:04.343" v="5120" actId="1035"/>
          <ac:grpSpMkLst>
            <pc:docMk/>
            <pc:sldMk cId="3961122517" sldId="267"/>
            <ac:grpSpMk id="9" creationId="{DF805C03-3DB0-4E33-8643-C36C88AA3A9C}"/>
          </ac:grpSpMkLst>
        </pc:grpChg>
      </pc:sldChg>
      <pc:sldChg chg="addSp delSp modSp mod">
        <pc:chgData name="LAURIOZ Hubert" userId="042c0725-f647-406f-add6-64a715f31917" providerId="ADAL" clId="{A17F5E8B-4FE8-40E9-BFA6-0B85FF8C210A}" dt="2022-04-12T13:15:09.317" v="6687" actId="20577"/>
        <pc:sldMkLst>
          <pc:docMk/>
          <pc:sldMk cId="489060114" sldId="268"/>
        </pc:sldMkLst>
        <pc:spChg chg="add del mod">
          <ac:chgData name="LAURIOZ Hubert" userId="042c0725-f647-406f-add6-64a715f31917" providerId="ADAL" clId="{A17F5E8B-4FE8-40E9-BFA6-0B85FF8C210A}" dt="2022-04-01T15:02:33.644" v="1449" actId="478"/>
          <ac:spMkLst>
            <pc:docMk/>
            <pc:sldMk cId="489060114" sldId="268"/>
            <ac:spMk id="13" creationId="{DA3C7ECE-B7C0-45BF-ABAB-E395384A1740}"/>
          </ac:spMkLst>
        </pc:spChg>
        <pc:spChg chg="add del mod">
          <ac:chgData name="LAURIOZ Hubert" userId="042c0725-f647-406f-add6-64a715f31917" providerId="ADAL" clId="{A17F5E8B-4FE8-40E9-BFA6-0B85FF8C210A}" dt="2022-04-01T14:27:18.222" v="939" actId="478"/>
          <ac:spMkLst>
            <pc:docMk/>
            <pc:sldMk cId="489060114" sldId="268"/>
            <ac:spMk id="16" creationId="{5BDF4B40-D8A8-4423-8D93-0F432A4DD6F4}"/>
          </ac:spMkLst>
        </pc:spChg>
        <pc:spChg chg="mod">
          <ac:chgData name="LAURIOZ Hubert" userId="042c0725-f647-406f-add6-64a715f31917" providerId="ADAL" clId="{A17F5E8B-4FE8-40E9-BFA6-0B85FF8C210A}" dt="2022-04-01T15:49:28.065" v="3072" actId="207"/>
          <ac:spMkLst>
            <pc:docMk/>
            <pc:sldMk cId="489060114" sldId="268"/>
            <ac:spMk id="20" creationId="{A321D76A-F6EA-4D2C-BA1D-2394EC7E8C48}"/>
          </ac:spMkLst>
        </pc:spChg>
        <pc:spChg chg="add del">
          <ac:chgData name="LAURIOZ Hubert" userId="042c0725-f647-406f-add6-64a715f31917" providerId="ADAL" clId="{A17F5E8B-4FE8-40E9-BFA6-0B85FF8C210A}" dt="2022-04-01T14:19:47.377" v="876" actId="22"/>
          <ac:spMkLst>
            <pc:docMk/>
            <pc:sldMk cId="489060114" sldId="268"/>
            <ac:spMk id="27" creationId="{D431AD1D-C335-44DB-9535-A2BB9477D3C6}"/>
          </ac:spMkLst>
        </pc:spChg>
        <pc:spChg chg="add mod">
          <ac:chgData name="LAURIOZ Hubert" userId="042c0725-f647-406f-add6-64a715f31917" providerId="ADAL" clId="{A17F5E8B-4FE8-40E9-BFA6-0B85FF8C210A}" dt="2022-04-12T13:13:55.460" v="6674" actId="20577"/>
          <ac:spMkLst>
            <pc:docMk/>
            <pc:sldMk cId="489060114" sldId="268"/>
            <ac:spMk id="29" creationId="{87D432D1-17DF-4C82-934A-D81DD6173F0F}"/>
          </ac:spMkLst>
        </pc:spChg>
        <pc:spChg chg="add mod">
          <ac:chgData name="LAURIOZ Hubert" userId="042c0725-f647-406f-add6-64a715f31917" providerId="ADAL" clId="{A17F5E8B-4FE8-40E9-BFA6-0B85FF8C210A}" dt="2022-04-12T13:15:09.317" v="6687" actId="20577"/>
          <ac:spMkLst>
            <pc:docMk/>
            <pc:sldMk cId="489060114" sldId="268"/>
            <ac:spMk id="31" creationId="{F1B53EDF-3F43-4D50-AB2E-728CED825FF3}"/>
          </ac:spMkLst>
        </pc:spChg>
        <pc:spChg chg="add del mod">
          <ac:chgData name="LAURIOZ Hubert" userId="042c0725-f647-406f-add6-64a715f31917" providerId="ADAL" clId="{A17F5E8B-4FE8-40E9-BFA6-0B85FF8C210A}" dt="2022-04-01T15:45:32.893" v="3070" actId="13926"/>
          <ac:spMkLst>
            <pc:docMk/>
            <pc:sldMk cId="489060114" sldId="268"/>
            <ac:spMk id="33" creationId="{EE421611-0F5D-4082-94CE-0B093C6FE451}"/>
          </ac:spMkLst>
        </pc:spChg>
        <pc:spChg chg="mod">
          <ac:chgData name="LAURIOZ Hubert" userId="042c0725-f647-406f-add6-64a715f31917" providerId="ADAL" clId="{A17F5E8B-4FE8-40E9-BFA6-0B85FF8C210A}" dt="2022-04-01T15:45:08.033" v="3066" actId="20577"/>
          <ac:spMkLst>
            <pc:docMk/>
            <pc:sldMk cId="489060114" sldId="268"/>
            <ac:spMk id="35" creationId="{920915ED-DF35-4392-9F15-952109E49BFF}"/>
          </ac:spMkLst>
        </pc:spChg>
        <pc:spChg chg="del">
          <ac:chgData name="LAURIOZ Hubert" userId="042c0725-f647-406f-add6-64a715f31917" providerId="ADAL" clId="{A17F5E8B-4FE8-40E9-BFA6-0B85FF8C210A}" dt="2022-04-01T13:56:18.149" v="45" actId="478"/>
          <ac:spMkLst>
            <pc:docMk/>
            <pc:sldMk cId="489060114" sldId="268"/>
            <ac:spMk id="36" creationId="{350B230C-F15C-4A3D-8574-A4224D85F005}"/>
          </ac:spMkLst>
        </pc:spChg>
        <pc:spChg chg="del">
          <ac:chgData name="LAURIOZ Hubert" userId="042c0725-f647-406f-add6-64a715f31917" providerId="ADAL" clId="{A17F5E8B-4FE8-40E9-BFA6-0B85FF8C210A}" dt="2022-04-01T13:55:54.142" v="41" actId="478"/>
          <ac:spMkLst>
            <pc:docMk/>
            <pc:sldMk cId="489060114" sldId="268"/>
            <ac:spMk id="37" creationId="{6EC800BA-8275-4F26-BBD6-721A77B7F255}"/>
          </ac:spMkLst>
        </pc:spChg>
        <pc:spChg chg="del">
          <ac:chgData name="LAURIOZ Hubert" userId="042c0725-f647-406f-add6-64a715f31917" providerId="ADAL" clId="{A17F5E8B-4FE8-40E9-BFA6-0B85FF8C210A}" dt="2022-04-01T13:55:54.142" v="41" actId="478"/>
          <ac:spMkLst>
            <pc:docMk/>
            <pc:sldMk cId="489060114" sldId="268"/>
            <ac:spMk id="43" creationId="{0C9F99DA-99B9-46A7-95D3-495E9E8B54E4}"/>
          </ac:spMkLst>
        </pc:spChg>
        <pc:grpChg chg="mod">
          <ac:chgData name="LAURIOZ Hubert" userId="042c0725-f647-406f-add6-64a715f31917" providerId="ADAL" clId="{A17F5E8B-4FE8-40E9-BFA6-0B85FF8C210A}" dt="2022-04-07T14:09:47.328" v="3082" actId="1076"/>
          <ac:grpSpMkLst>
            <pc:docMk/>
            <pc:sldMk cId="489060114" sldId="268"/>
            <ac:grpSpMk id="8" creationId="{91445D41-7DE5-4228-AC55-A553CC1BC67E}"/>
          </ac:grpSpMkLst>
        </pc:grpChg>
        <pc:grpChg chg="add del mod">
          <ac:chgData name="LAURIOZ Hubert" userId="042c0725-f647-406f-add6-64a715f31917" providerId="ADAL" clId="{A17F5E8B-4FE8-40E9-BFA6-0B85FF8C210A}" dt="2022-04-01T14:09:28.211" v="661" actId="21"/>
          <ac:grpSpMkLst>
            <pc:docMk/>
            <pc:sldMk cId="489060114" sldId="268"/>
            <ac:grpSpMk id="17" creationId="{EB63E625-EE42-4352-B779-EE44821EDBCB}"/>
          </ac:grpSpMkLst>
        </pc:grpChg>
        <pc:grpChg chg="add del mod">
          <ac:chgData name="LAURIOZ Hubert" userId="042c0725-f647-406f-add6-64a715f31917" providerId="ADAL" clId="{A17F5E8B-4FE8-40E9-BFA6-0B85FF8C210A}" dt="2022-04-01T15:02:13.029" v="1447" actId="478"/>
          <ac:grpSpMkLst>
            <pc:docMk/>
            <pc:sldMk cId="489060114" sldId="268"/>
            <ac:grpSpMk id="21" creationId="{B638D07E-7F90-4A8F-985B-AB5E0AAC7143}"/>
          </ac:grpSpMkLst>
        </pc:grpChg>
        <pc:graphicFrameChg chg="del">
          <ac:chgData name="LAURIOZ Hubert" userId="042c0725-f647-406f-add6-64a715f31917" providerId="ADAL" clId="{A17F5E8B-4FE8-40E9-BFA6-0B85FF8C210A}" dt="2022-04-01T13:55:54.142" v="41" actId="478"/>
          <ac:graphicFrameMkLst>
            <pc:docMk/>
            <pc:sldMk cId="489060114" sldId="268"/>
            <ac:graphicFrameMk id="38" creationId="{5564476A-43C8-4F40-B742-92AF3FA40F97}"/>
          </ac:graphicFrameMkLst>
        </pc:graphicFrameChg>
        <pc:picChg chg="add del mod">
          <ac:chgData name="LAURIOZ Hubert" userId="042c0725-f647-406f-add6-64a715f31917" providerId="ADAL" clId="{A17F5E8B-4FE8-40E9-BFA6-0B85FF8C210A}" dt="2022-04-01T14:10:42.218" v="668" actId="21"/>
          <ac:picMkLst>
            <pc:docMk/>
            <pc:sldMk cId="489060114" sldId="268"/>
            <ac:picMk id="3" creationId="{B0B35B45-F603-47CA-9D4B-5A3BFEC5B226}"/>
          </ac:picMkLst>
        </pc:picChg>
        <pc:picChg chg="add mod">
          <ac:chgData name="LAURIOZ Hubert" userId="042c0725-f647-406f-add6-64a715f31917" providerId="ADAL" clId="{A17F5E8B-4FE8-40E9-BFA6-0B85FF8C210A}" dt="2022-04-01T14:00:50.535" v="566"/>
          <ac:picMkLst>
            <pc:docMk/>
            <pc:sldMk cId="489060114" sldId="268"/>
            <ac:picMk id="14" creationId="{E407E18A-9D9C-4030-9788-B70135129E96}"/>
          </ac:picMkLst>
        </pc:picChg>
        <pc:picChg chg="mod">
          <ac:chgData name="LAURIOZ Hubert" userId="042c0725-f647-406f-add6-64a715f31917" providerId="ADAL" clId="{A17F5E8B-4FE8-40E9-BFA6-0B85FF8C210A}" dt="2022-04-01T14:05:26.164" v="643"/>
          <ac:picMkLst>
            <pc:docMk/>
            <pc:sldMk cId="489060114" sldId="268"/>
            <ac:picMk id="18" creationId="{1FCA6F16-D561-4BB9-9DE6-74CDD8779568}"/>
          </ac:picMkLst>
        </pc:picChg>
        <pc:picChg chg="mod">
          <ac:chgData name="LAURIOZ Hubert" userId="042c0725-f647-406f-add6-64a715f31917" providerId="ADAL" clId="{A17F5E8B-4FE8-40E9-BFA6-0B85FF8C210A}" dt="2022-04-01T14:05:26.164" v="643"/>
          <ac:picMkLst>
            <pc:docMk/>
            <pc:sldMk cId="489060114" sldId="268"/>
            <ac:picMk id="19" creationId="{C3D6D0FF-B43C-49AB-AD56-1A855B28A5D0}"/>
          </ac:picMkLst>
        </pc:picChg>
        <pc:picChg chg="mod">
          <ac:chgData name="LAURIOZ Hubert" userId="042c0725-f647-406f-add6-64a715f31917" providerId="ADAL" clId="{A17F5E8B-4FE8-40E9-BFA6-0B85FF8C210A}" dt="2022-04-01T14:09:31.779" v="665"/>
          <ac:picMkLst>
            <pc:docMk/>
            <pc:sldMk cId="489060114" sldId="268"/>
            <ac:picMk id="22" creationId="{85157242-2FFF-4650-81A4-BF19FC0597AB}"/>
          </ac:picMkLst>
        </pc:picChg>
        <pc:picChg chg="mod">
          <ac:chgData name="LAURIOZ Hubert" userId="042c0725-f647-406f-add6-64a715f31917" providerId="ADAL" clId="{A17F5E8B-4FE8-40E9-BFA6-0B85FF8C210A}" dt="2022-04-01T14:09:31.779" v="665"/>
          <ac:picMkLst>
            <pc:docMk/>
            <pc:sldMk cId="489060114" sldId="268"/>
            <ac:picMk id="23" creationId="{4D62D47A-9472-49D5-AF5B-BADA63D74A40}"/>
          </ac:picMkLst>
        </pc:picChg>
        <pc:picChg chg="add del mod">
          <ac:chgData name="LAURIOZ Hubert" userId="042c0725-f647-406f-add6-64a715f31917" providerId="ADAL" clId="{A17F5E8B-4FE8-40E9-BFA6-0B85FF8C210A}" dt="2022-04-01T14:10:46.053" v="671"/>
          <ac:picMkLst>
            <pc:docMk/>
            <pc:sldMk cId="489060114" sldId="268"/>
            <ac:picMk id="24" creationId="{4010368B-24CE-4A0D-A42E-485862CBC9E9}"/>
          </ac:picMkLst>
        </pc:picChg>
        <pc:picChg chg="add del mod">
          <ac:chgData name="LAURIOZ Hubert" userId="042c0725-f647-406f-add6-64a715f31917" providerId="ADAL" clId="{A17F5E8B-4FE8-40E9-BFA6-0B85FF8C210A}" dt="2022-04-01T14:11:08.570" v="673" actId="478"/>
          <ac:picMkLst>
            <pc:docMk/>
            <pc:sldMk cId="489060114" sldId="268"/>
            <ac:picMk id="25" creationId="{7DC4E791-ED24-48AE-982D-9664379FECAB}"/>
          </ac:picMkLst>
        </pc:picChg>
        <pc:picChg chg="del">
          <ac:chgData name="LAURIOZ Hubert" userId="042c0725-f647-406f-add6-64a715f31917" providerId="ADAL" clId="{A17F5E8B-4FE8-40E9-BFA6-0B85FF8C210A}" dt="2022-04-01T13:55:57.942" v="42" actId="478"/>
          <ac:picMkLst>
            <pc:docMk/>
            <pc:sldMk cId="489060114" sldId="268"/>
            <ac:picMk id="39" creationId="{A73B9876-227B-4A6D-8940-825D4A8A1292}"/>
          </ac:picMkLst>
        </pc:picChg>
        <pc:picChg chg="del">
          <ac:chgData name="LAURIOZ Hubert" userId="042c0725-f647-406f-add6-64a715f31917" providerId="ADAL" clId="{A17F5E8B-4FE8-40E9-BFA6-0B85FF8C210A}" dt="2022-04-01T13:55:57.942" v="42" actId="478"/>
          <ac:picMkLst>
            <pc:docMk/>
            <pc:sldMk cId="489060114" sldId="268"/>
            <ac:picMk id="40" creationId="{A03F7DD7-4AC2-416A-9CB0-7B2A54BD9C0F}"/>
          </ac:picMkLst>
        </pc:picChg>
        <pc:picChg chg="del">
          <ac:chgData name="LAURIOZ Hubert" userId="042c0725-f647-406f-add6-64a715f31917" providerId="ADAL" clId="{A17F5E8B-4FE8-40E9-BFA6-0B85FF8C210A}" dt="2022-04-01T13:55:57.942" v="42" actId="478"/>
          <ac:picMkLst>
            <pc:docMk/>
            <pc:sldMk cId="489060114" sldId="268"/>
            <ac:picMk id="41" creationId="{BFBEDEB3-4629-422E-A74D-75FF70B61BDE}"/>
          </ac:picMkLst>
        </pc:picChg>
        <pc:picChg chg="del">
          <ac:chgData name="LAURIOZ Hubert" userId="042c0725-f647-406f-add6-64a715f31917" providerId="ADAL" clId="{A17F5E8B-4FE8-40E9-BFA6-0B85FF8C210A}" dt="2022-04-01T13:55:57.942" v="42" actId="478"/>
          <ac:picMkLst>
            <pc:docMk/>
            <pc:sldMk cId="489060114" sldId="268"/>
            <ac:picMk id="42" creationId="{CDE5D44A-0A31-4EC8-8C8F-A6F7B4659AB8}"/>
          </ac:picMkLst>
        </pc:picChg>
      </pc:sldChg>
      <pc:sldChg chg="modSp mod">
        <pc:chgData name="LAURIOZ Hubert" userId="042c0725-f647-406f-add6-64a715f31917" providerId="ADAL" clId="{A17F5E8B-4FE8-40E9-BFA6-0B85FF8C210A}" dt="2022-04-12T13:16:21.932" v="6714" actId="1038"/>
        <pc:sldMkLst>
          <pc:docMk/>
          <pc:sldMk cId="2359043163" sldId="275"/>
        </pc:sldMkLst>
        <pc:spChg chg="mod ord">
          <ac:chgData name="LAURIOZ Hubert" userId="042c0725-f647-406f-add6-64a715f31917" providerId="ADAL" clId="{A17F5E8B-4FE8-40E9-BFA6-0B85FF8C210A}" dt="2022-04-07T16:53:18.840" v="6501" actId="166"/>
          <ac:spMkLst>
            <pc:docMk/>
            <pc:sldMk cId="2359043163" sldId="275"/>
            <ac:spMk id="40" creationId="{CCA8860A-4880-4BAC-BBFC-7296F53DFDBB}"/>
          </ac:spMkLst>
        </pc:spChg>
        <pc:spChg chg="mod">
          <ac:chgData name="LAURIOZ Hubert" userId="042c0725-f647-406f-add6-64a715f31917" providerId="ADAL" clId="{A17F5E8B-4FE8-40E9-BFA6-0B85FF8C210A}" dt="2022-04-12T13:15:54.853" v="6693" actId="1035"/>
          <ac:spMkLst>
            <pc:docMk/>
            <pc:sldMk cId="2359043163" sldId="275"/>
            <ac:spMk id="41" creationId="{4A5D430C-F133-4EB6-9964-3D05073AF6A5}"/>
          </ac:spMkLst>
        </pc:spChg>
        <pc:spChg chg="mod">
          <ac:chgData name="LAURIOZ Hubert" userId="042c0725-f647-406f-add6-64a715f31917" providerId="ADAL" clId="{A17F5E8B-4FE8-40E9-BFA6-0B85FF8C210A}" dt="2022-04-07T16:54:49.333" v="6565" actId="14100"/>
          <ac:spMkLst>
            <pc:docMk/>
            <pc:sldMk cId="2359043163" sldId="275"/>
            <ac:spMk id="43" creationId="{2EFFF231-9757-40D1-9CDD-D8A613EC753D}"/>
          </ac:spMkLst>
        </pc:spChg>
        <pc:spChg chg="mod">
          <ac:chgData name="LAURIOZ Hubert" userId="042c0725-f647-406f-add6-64a715f31917" providerId="ADAL" clId="{A17F5E8B-4FE8-40E9-BFA6-0B85FF8C210A}" dt="2022-04-07T16:54:07.302" v="6507" actId="1076"/>
          <ac:spMkLst>
            <pc:docMk/>
            <pc:sldMk cId="2359043163" sldId="275"/>
            <ac:spMk id="44" creationId="{7AA184DC-254F-4416-8346-E5FCF602478F}"/>
          </ac:spMkLst>
        </pc:spChg>
        <pc:spChg chg="mod">
          <ac:chgData name="LAURIOZ Hubert" userId="042c0725-f647-406f-add6-64a715f31917" providerId="ADAL" clId="{A17F5E8B-4FE8-40E9-BFA6-0B85FF8C210A}" dt="2022-04-07T16:55:14.244" v="6586" actId="207"/>
          <ac:spMkLst>
            <pc:docMk/>
            <pc:sldMk cId="2359043163" sldId="275"/>
            <ac:spMk id="45" creationId="{561FF896-9186-48A6-8A38-BE2A47481AC9}"/>
          </ac:spMkLst>
        </pc:spChg>
        <pc:spChg chg="mod">
          <ac:chgData name="LAURIOZ Hubert" userId="042c0725-f647-406f-add6-64a715f31917" providerId="ADAL" clId="{A17F5E8B-4FE8-40E9-BFA6-0B85FF8C210A}" dt="2022-04-07T16:54:23.489" v="6509" actId="207"/>
          <ac:spMkLst>
            <pc:docMk/>
            <pc:sldMk cId="2359043163" sldId="275"/>
            <ac:spMk id="46" creationId="{98892748-7081-4C20-ABC0-4144D84DE3D3}"/>
          </ac:spMkLst>
        </pc:spChg>
        <pc:spChg chg="mod">
          <ac:chgData name="LAURIOZ Hubert" userId="042c0725-f647-406f-add6-64a715f31917" providerId="ADAL" clId="{A17F5E8B-4FE8-40E9-BFA6-0B85FF8C210A}" dt="2022-04-07T16:54:40.182" v="6564" actId="1038"/>
          <ac:spMkLst>
            <pc:docMk/>
            <pc:sldMk cId="2359043163" sldId="275"/>
            <ac:spMk id="47" creationId="{5C7173B8-F164-4808-BA46-DDDE03837299}"/>
          </ac:spMkLst>
        </pc:spChg>
        <pc:spChg chg="mod">
          <ac:chgData name="LAURIOZ Hubert" userId="042c0725-f647-406f-add6-64a715f31917" providerId="ADAL" clId="{A17F5E8B-4FE8-40E9-BFA6-0B85FF8C210A}" dt="2022-04-12T13:16:21.932" v="6714" actId="1038"/>
          <ac:spMkLst>
            <pc:docMk/>
            <pc:sldMk cId="2359043163" sldId="275"/>
            <ac:spMk id="48" creationId="{DFDFC62E-791E-44BA-9C12-BCF4EA49AC42}"/>
          </ac:spMkLst>
        </pc:spChg>
        <pc:spChg chg="mod ord">
          <ac:chgData name="LAURIOZ Hubert" userId="042c0725-f647-406f-add6-64a715f31917" providerId="ADAL" clId="{A17F5E8B-4FE8-40E9-BFA6-0B85FF8C210A}" dt="2022-04-07T16:53:34.310" v="6503" actId="14100"/>
          <ac:spMkLst>
            <pc:docMk/>
            <pc:sldMk cId="2359043163" sldId="275"/>
            <ac:spMk id="49" creationId="{FB8F205F-CC51-4883-8C10-37158BD02887}"/>
          </ac:spMkLst>
        </pc:spChg>
        <pc:spChg chg="mod">
          <ac:chgData name="LAURIOZ Hubert" userId="042c0725-f647-406f-add6-64a715f31917" providerId="ADAL" clId="{A17F5E8B-4FE8-40E9-BFA6-0B85FF8C210A}" dt="2022-04-07T16:55:40.368" v="6589" actId="14100"/>
          <ac:spMkLst>
            <pc:docMk/>
            <pc:sldMk cId="2359043163" sldId="275"/>
            <ac:spMk id="50" creationId="{205CB7DC-91CC-4545-A255-1F26C78536D0}"/>
          </ac:spMkLst>
        </pc:spChg>
        <pc:picChg chg="ord">
          <ac:chgData name="LAURIOZ Hubert" userId="042c0725-f647-406f-add6-64a715f31917" providerId="ADAL" clId="{A17F5E8B-4FE8-40E9-BFA6-0B85FF8C210A}" dt="2022-04-07T16:55:21.591" v="6587" actId="167"/>
          <ac:picMkLst>
            <pc:docMk/>
            <pc:sldMk cId="2359043163" sldId="275"/>
            <ac:picMk id="42" creationId="{903B0639-60EB-4684-B45C-3CD4952B7F32}"/>
          </ac:picMkLst>
        </pc:picChg>
      </pc:sldChg>
      <pc:sldChg chg="addSp delSp modSp add mod ord">
        <pc:chgData name="LAURIOZ Hubert" userId="042c0725-f647-406f-add6-64a715f31917" providerId="ADAL" clId="{A17F5E8B-4FE8-40E9-BFA6-0B85FF8C210A}" dt="2022-04-12T13:12:50.773" v="6672" actId="947"/>
        <pc:sldMkLst>
          <pc:docMk/>
          <pc:sldMk cId="2485879842" sldId="278"/>
        </pc:sldMkLst>
        <pc:spChg chg="mod">
          <ac:chgData name="LAURIOZ Hubert" userId="042c0725-f647-406f-add6-64a715f31917" providerId="ADAL" clId="{A17F5E8B-4FE8-40E9-BFA6-0B85FF8C210A}" dt="2022-04-12T13:11:57.118" v="6669" actId="20577"/>
          <ac:spMkLst>
            <pc:docMk/>
            <pc:sldMk cId="2485879842" sldId="278"/>
            <ac:spMk id="4" creationId="{890DE970-1978-411C-9CA3-57868A092DC3}"/>
          </ac:spMkLst>
        </pc:spChg>
        <pc:spChg chg="mod">
          <ac:chgData name="LAURIOZ Hubert" userId="042c0725-f647-406f-add6-64a715f31917" providerId="ADAL" clId="{A17F5E8B-4FE8-40E9-BFA6-0B85FF8C210A}" dt="2022-04-07T16:42:11.161" v="6219" actId="404"/>
          <ac:spMkLst>
            <pc:docMk/>
            <pc:sldMk cId="2485879842" sldId="278"/>
            <ac:spMk id="6" creationId="{DFADE82E-888D-4564-ADE8-E913E403D012}"/>
          </ac:spMkLst>
        </pc:spChg>
        <pc:spChg chg="mod">
          <ac:chgData name="LAURIOZ Hubert" userId="042c0725-f647-406f-add6-64a715f31917" providerId="ADAL" clId="{A17F5E8B-4FE8-40E9-BFA6-0B85FF8C210A}" dt="2022-04-12T13:12:50.773" v="6672" actId="947"/>
          <ac:spMkLst>
            <pc:docMk/>
            <pc:sldMk cId="2485879842" sldId="278"/>
            <ac:spMk id="8" creationId="{F5765768-77B9-434A-9EAA-D65934634561}"/>
          </ac:spMkLst>
        </pc:spChg>
        <pc:spChg chg="mod">
          <ac:chgData name="LAURIOZ Hubert" userId="042c0725-f647-406f-add6-64a715f31917" providerId="ADAL" clId="{A17F5E8B-4FE8-40E9-BFA6-0B85FF8C210A}" dt="2022-04-07T16:42:11.161" v="6219" actId="404"/>
          <ac:spMkLst>
            <pc:docMk/>
            <pc:sldMk cId="2485879842" sldId="278"/>
            <ac:spMk id="10" creationId="{660CFDCE-0150-4E80-A74A-AB70B8D87ADB}"/>
          </ac:spMkLst>
        </pc:spChg>
        <pc:spChg chg="mod">
          <ac:chgData name="LAURIOZ Hubert" userId="042c0725-f647-406f-add6-64a715f31917" providerId="ADAL" clId="{A17F5E8B-4FE8-40E9-BFA6-0B85FF8C210A}" dt="2022-04-07T15:53:36.757" v="5043" actId="114"/>
          <ac:spMkLst>
            <pc:docMk/>
            <pc:sldMk cId="2485879842" sldId="278"/>
            <ac:spMk id="20" creationId="{A321D76A-F6EA-4D2C-BA1D-2394EC7E8C48}"/>
          </ac:spMkLst>
        </pc:spChg>
        <pc:spChg chg="add del mod">
          <ac:chgData name="LAURIOZ Hubert" userId="042c0725-f647-406f-add6-64a715f31917" providerId="ADAL" clId="{A17F5E8B-4FE8-40E9-BFA6-0B85FF8C210A}" dt="2022-04-07T16:25:28.539" v="5651" actId="478"/>
          <ac:spMkLst>
            <pc:docMk/>
            <pc:sldMk cId="2485879842" sldId="278"/>
            <ac:spMk id="21" creationId="{90DA4F85-BC82-4C25-A086-883D8B83089A}"/>
          </ac:spMkLst>
        </pc:spChg>
        <pc:spChg chg="add mod">
          <ac:chgData name="LAURIOZ Hubert" userId="042c0725-f647-406f-add6-64a715f31917" providerId="ADAL" clId="{A17F5E8B-4FE8-40E9-BFA6-0B85FF8C210A}" dt="2022-04-07T16:57:25.591" v="6657" actId="1035"/>
          <ac:spMkLst>
            <pc:docMk/>
            <pc:sldMk cId="2485879842" sldId="278"/>
            <ac:spMk id="23" creationId="{F14CCD74-C179-4B0B-993F-7870503042C6}"/>
          </ac:spMkLst>
        </pc:spChg>
        <pc:spChg chg="add mod">
          <ac:chgData name="LAURIOZ Hubert" userId="042c0725-f647-406f-add6-64a715f31917" providerId="ADAL" clId="{A17F5E8B-4FE8-40E9-BFA6-0B85FF8C210A}" dt="2022-04-07T16:57:25.591" v="6657" actId="1035"/>
          <ac:spMkLst>
            <pc:docMk/>
            <pc:sldMk cId="2485879842" sldId="278"/>
            <ac:spMk id="27" creationId="{20866F2B-5186-4CED-9F5F-4A26C34EC910}"/>
          </ac:spMkLst>
        </pc:spChg>
        <pc:spChg chg="add mod">
          <ac:chgData name="LAURIOZ Hubert" userId="042c0725-f647-406f-add6-64a715f31917" providerId="ADAL" clId="{A17F5E8B-4FE8-40E9-BFA6-0B85FF8C210A}" dt="2022-04-07T16:57:25.591" v="6657" actId="1035"/>
          <ac:spMkLst>
            <pc:docMk/>
            <pc:sldMk cId="2485879842" sldId="278"/>
            <ac:spMk id="28" creationId="{BCBCDAAA-8842-41E4-A052-EBB1A2800086}"/>
          </ac:spMkLst>
        </pc:spChg>
        <pc:spChg chg="mod">
          <ac:chgData name="LAURIOZ Hubert" userId="042c0725-f647-406f-add6-64a715f31917" providerId="ADAL" clId="{A17F5E8B-4FE8-40E9-BFA6-0B85FF8C210A}" dt="2022-04-07T16:35:21.333" v="5718" actId="404"/>
          <ac:spMkLst>
            <pc:docMk/>
            <pc:sldMk cId="2485879842" sldId="278"/>
            <ac:spMk id="37" creationId="{6EC800BA-8275-4F26-BBD6-721A77B7F255}"/>
          </ac:spMkLst>
        </pc:spChg>
        <pc:grpChg chg="mod">
          <ac:chgData name="LAURIOZ Hubert" userId="042c0725-f647-406f-add6-64a715f31917" providerId="ADAL" clId="{A17F5E8B-4FE8-40E9-BFA6-0B85FF8C210A}" dt="2022-04-07T16:50:50.352" v="6449" actId="1035"/>
          <ac:grpSpMkLst>
            <pc:docMk/>
            <pc:sldMk cId="2485879842" sldId="278"/>
            <ac:grpSpMk id="2" creationId="{BCE33583-F44C-4853-82D4-EB4FF4A35A9F}"/>
          </ac:grpSpMkLst>
        </pc:grpChg>
        <pc:grpChg chg="add mod">
          <ac:chgData name="LAURIOZ Hubert" userId="042c0725-f647-406f-add6-64a715f31917" providerId="ADAL" clId="{A17F5E8B-4FE8-40E9-BFA6-0B85FF8C210A}" dt="2022-04-07T16:57:25.591" v="6657" actId="1035"/>
          <ac:grpSpMkLst>
            <pc:docMk/>
            <pc:sldMk cId="2485879842" sldId="278"/>
            <ac:grpSpMk id="12" creationId="{1C71D15E-D2DD-4ABB-99F5-65FC9B8410B0}"/>
          </ac:grpSpMkLst>
        </pc:grpChg>
        <pc:picChg chg="mod">
          <ac:chgData name="LAURIOZ Hubert" userId="042c0725-f647-406f-add6-64a715f31917" providerId="ADAL" clId="{A17F5E8B-4FE8-40E9-BFA6-0B85FF8C210A}" dt="2022-04-07T16:57:25.591" v="6657" actId="1035"/>
          <ac:picMkLst>
            <pc:docMk/>
            <pc:sldMk cId="2485879842" sldId="278"/>
            <ac:picMk id="13" creationId="{F5D6379B-C776-462B-B040-6D6226D127BE}"/>
          </ac:picMkLst>
        </pc:picChg>
        <pc:picChg chg="mod">
          <ac:chgData name="LAURIOZ Hubert" userId="042c0725-f647-406f-add6-64a715f31917" providerId="ADAL" clId="{A17F5E8B-4FE8-40E9-BFA6-0B85FF8C210A}" dt="2022-04-07T16:50:57.167" v="6458" actId="1035"/>
          <ac:picMkLst>
            <pc:docMk/>
            <pc:sldMk cId="2485879842" sldId="278"/>
            <ac:picMk id="14" creationId="{28307169-3E91-473A-BBB1-11BAE0DFC7CB}"/>
          </ac:picMkLst>
        </pc:picChg>
        <pc:picChg chg="mod">
          <ac:chgData name="LAURIOZ Hubert" userId="042c0725-f647-406f-add6-64a715f31917" providerId="ADAL" clId="{A17F5E8B-4FE8-40E9-BFA6-0B85FF8C210A}" dt="2022-04-07T16:51:07.958" v="6462" actId="1035"/>
          <ac:picMkLst>
            <pc:docMk/>
            <pc:sldMk cId="2485879842" sldId="278"/>
            <ac:picMk id="16" creationId="{0464202A-D787-44B0-B855-39AAEEA5935F}"/>
          </ac:picMkLst>
        </pc:picChg>
        <pc:picChg chg="mod">
          <ac:chgData name="LAURIOZ Hubert" userId="042c0725-f647-406f-add6-64a715f31917" providerId="ADAL" clId="{A17F5E8B-4FE8-40E9-BFA6-0B85FF8C210A}" dt="2022-04-07T16:51:02.742" v="6460" actId="1035"/>
          <ac:picMkLst>
            <pc:docMk/>
            <pc:sldMk cId="2485879842" sldId="278"/>
            <ac:picMk id="17" creationId="{7253FADF-5323-4216-8412-D847EBD8BBC5}"/>
          </ac:picMkLst>
        </pc:picChg>
        <pc:picChg chg="mod">
          <ac:chgData name="LAURIOZ Hubert" userId="042c0725-f647-406f-add6-64a715f31917" providerId="ADAL" clId="{A17F5E8B-4FE8-40E9-BFA6-0B85FF8C210A}" dt="2022-04-07T16:50:57.167" v="6458" actId="1035"/>
          <ac:picMkLst>
            <pc:docMk/>
            <pc:sldMk cId="2485879842" sldId="278"/>
            <ac:picMk id="18" creationId="{45656F82-E480-470B-8015-F952388DACC5}"/>
          </ac:picMkLst>
        </pc:picChg>
        <pc:picChg chg="mod">
          <ac:chgData name="LAURIOZ Hubert" userId="042c0725-f647-406f-add6-64a715f31917" providerId="ADAL" clId="{A17F5E8B-4FE8-40E9-BFA6-0B85FF8C210A}" dt="2022-04-07T16:20:33.974" v="5599" actId="164"/>
          <ac:picMkLst>
            <pc:docMk/>
            <pc:sldMk cId="2485879842" sldId="278"/>
            <ac:picMk id="19" creationId="{B940C45F-1C3F-485E-B2CD-F6FD24736581}"/>
          </ac:picMkLst>
        </pc:picChg>
        <pc:picChg chg="del mod">
          <ac:chgData name="LAURIOZ Hubert" userId="042c0725-f647-406f-add6-64a715f31917" providerId="ADAL" clId="{A17F5E8B-4FE8-40E9-BFA6-0B85FF8C210A}" dt="2022-04-07T16:20:08.223" v="5595" actId="478"/>
          <ac:picMkLst>
            <pc:docMk/>
            <pc:sldMk cId="2485879842" sldId="278"/>
            <ac:picMk id="24" creationId="{7A91C639-5919-458D-BE13-0841A37FDFBB}"/>
          </ac:picMkLst>
        </pc:picChg>
        <pc:picChg chg="mod">
          <ac:chgData name="LAURIOZ Hubert" userId="042c0725-f647-406f-add6-64a715f31917" providerId="ADAL" clId="{A17F5E8B-4FE8-40E9-BFA6-0B85FF8C210A}" dt="2022-04-07T16:20:39.800" v="5642" actId="1036"/>
          <ac:picMkLst>
            <pc:docMk/>
            <pc:sldMk cId="2485879842" sldId="278"/>
            <ac:picMk id="26" creationId="{C88CAB2D-B029-44C0-9E16-327A4B04903E}"/>
          </ac:picMkLst>
        </pc:picChg>
      </pc:sldChg>
    </pc:docChg>
  </pc:docChgLst>
  <pc:docChgLst>
    <pc:chgData name="LAURIOZ Hubert" userId="S::a576az@login.axa::042c0725-f647-406f-add6-64a715f31917" providerId="AD" clId="Web-{822190A0-306E-DA4C-687F-5A318F7D3323}"/>
    <pc:docChg chg="modSld">
      <pc:chgData name="LAURIOZ Hubert" userId="S::a576az@login.axa::042c0725-f647-406f-add6-64a715f31917" providerId="AD" clId="Web-{822190A0-306E-DA4C-687F-5A318F7D3323}" dt="2022-03-24T14:08:08.016" v="47" actId="20577"/>
      <pc:docMkLst>
        <pc:docMk/>
      </pc:docMkLst>
      <pc:sldChg chg="modSp">
        <pc:chgData name="LAURIOZ Hubert" userId="S::a576az@login.axa::042c0725-f647-406f-add6-64a715f31917" providerId="AD" clId="Web-{822190A0-306E-DA4C-687F-5A318F7D3323}" dt="2022-03-24T14:08:08.016" v="47" actId="20577"/>
        <pc:sldMkLst>
          <pc:docMk/>
          <pc:sldMk cId="3961122517" sldId="267"/>
        </pc:sldMkLst>
        <pc:spChg chg="mod">
          <ac:chgData name="LAURIOZ Hubert" userId="S::a576az@login.axa::042c0725-f647-406f-add6-64a715f31917" providerId="AD" clId="Web-{822190A0-306E-DA4C-687F-5A318F7D3323}" dt="2022-03-24T14:08:08.016" v="47" actId="20577"/>
          <ac:spMkLst>
            <pc:docMk/>
            <pc:sldMk cId="3961122517" sldId="267"/>
            <ac:spMk id="6" creationId="{16AA4776-EF33-4C1F-B471-CADD54573F20}"/>
          </ac:spMkLst>
        </pc:spChg>
      </pc:sldChg>
      <pc:sldChg chg="modSp">
        <pc:chgData name="LAURIOZ Hubert" userId="S::a576az@login.axa::042c0725-f647-406f-add6-64a715f31917" providerId="AD" clId="Web-{822190A0-306E-DA4C-687F-5A318F7D3323}" dt="2022-03-24T14:07:03.138" v="4" actId="20577"/>
        <pc:sldMkLst>
          <pc:docMk/>
          <pc:sldMk cId="2359043163" sldId="275"/>
        </pc:sldMkLst>
        <pc:spChg chg="mod">
          <ac:chgData name="LAURIOZ Hubert" userId="S::a576az@login.axa::042c0725-f647-406f-add6-64a715f31917" providerId="AD" clId="Web-{822190A0-306E-DA4C-687F-5A318F7D3323}" dt="2022-03-24T14:07:03.138" v="4" actId="20577"/>
          <ac:spMkLst>
            <pc:docMk/>
            <pc:sldMk cId="2359043163" sldId="275"/>
            <ac:spMk id="39" creationId="{80643473-3EE3-4CA2-8CCA-3EB7626C95EB}"/>
          </ac:spMkLst>
        </pc:spChg>
      </pc:sldChg>
    </pc:docChg>
  </pc:docChgLst>
  <pc:docChgLst>
    <pc:chgData name="DORTOMB Frederic" userId="961958c9-6f45-4a80-b51c-03b01cd8ab6f" providerId="ADAL" clId="{C478DCF3-38F8-4FFB-954D-5A54FF83D5BF}"/>
    <pc:docChg chg="modSld">
      <pc:chgData name="DORTOMB Frederic" userId="961958c9-6f45-4a80-b51c-03b01cd8ab6f" providerId="ADAL" clId="{C478DCF3-38F8-4FFB-954D-5A54FF83D5BF}" dt="2022-03-02T09:18:49.998" v="39" actId="1076"/>
      <pc:docMkLst>
        <pc:docMk/>
      </pc:docMkLst>
      <pc:sldChg chg="modSp mod">
        <pc:chgData name="DORTOMB Frederic" userId="961958c9-6f45-4a80-b51c-03b01cd8ab6f" providerId="ADAL" clId="{C478DCF3-38F8-4FFB-954D-5A54FF83D5BF}" dt="2022-03-02T09:18:49.998" v="39" actId="1076"/>
        <pc:sldMkLst>
          <pc:docMk/>
          <pc:sldMk cId="2359043163" sldId="275"/>
        </pc:sldMkLst>
        <pc:spChg chg="mod">
          <ac:chgData name="DORTOMB Frederic" userId="961958c9-6f45-4a80-b51c-03b01cd8ab6f" providerId="ADAL" clId="{C478DCF3-38F8-4FFB-954D-5A54FF83D5BF}" dt="2022-03-02T09:18:49.998" v="39" actId="1076"/>
          <ac:spMkLst>
            <pc:docMk/>
            <pc:sldMk cId="2359043163" sldId="275"/>
            <ac:spMk id="41" creationId="{4A5D430C-F133-4EB6-9964-3D05073AF6A5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545" cy="498288"/>
          </a:xfrm>
          <a:prstGeom prst="rect">
            <a:avLst/>
          </a:prstGeom>
        </p:spPr>
        <p:txBody>
          <a:bodyPr vert="horz" lIns="88615" tIns="44307" rIns="88615" bIns="44307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923" y="0"/>
            <a:ext cx="2971544" cy="498288"/>
          </a:xfrm>
          <a:prstGeom prst="rect">
            <a:avLst/>
          </a:prstGeom>
        </p:spPr>
        <p:txBody>
          <a:bodyPr vert="horz" lIns="88615" tIns="44307" rIns="88615" bIns="44307" rtlCol="0"/>
          <a:lstStyle>
            <a:lvl1pPr algn="r">
              <a:defRPr sz="1200"/>
            </a:lvl1pPr>
          </a:lstStyle>
          <a:p>
            <a:fld id="{87F72619-4E6D-499D-ADD7-9302608C9E2A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2266950" y="1243013"/>
            <a:ext cx="2325688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8615" tIns="44307" rIns="88615" bIns="44307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6566" y="4786951"/>
            <a:ext cx="5486400" cy="3915333"/>
          </a:xfrm>
          <a:prstGeom prst="rect">
            <a:avLst/>
          </a:prstGeom>
        </p:spPr>
        <p:txBody>
          <a:bodyPr vert="horz" lIns="88615" tIns="44307" rIns="88615" bIns="44307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47401"/>
            <a:ext cx="2971545" cy="498288"/>
          </a:xfrm>
          <a:prstGeom prst="rect">
            <a:avLst/>
          </a:prstGeom>
        </p:spPr>
        <p:txBody>
          <a:bodyPr vert="horz" lIns="88615" tIns="44307" rIns="88615" bIns="44307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923" y="9447401"/>
            <a:ext cx="2971544" cy="498288"/>
          </a:xfrm>
          <a:prstGeom prst="rect">
            <a:avLst/>
          </a:prstGeom>
        </p:spPr>
        <p:txBody>
          <a:bodyPr vert="horz" lIns="88615" tIns="44307" rIns="88615" bIns="44307" rtlCol="0" anchor="b"/>
          <a:lstStyle>
            <a:lvl1pPr algn="r">
              <a:defRPr sz="1200"/>
            </a:lvl1pPr>
          </a:lstStyle>
          <a:p>
            <a:fld id="{527D5890-B3FF-4AE9-B6B0-D73571CAA3E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83272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66950" y="1243013"/>
            <a:ext cx="2325688" cy="33575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D5890-B3FF-4AE9-B6B0-D73571CAA3E1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28406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2266950" y="1243013"/>
            <a:ext cx="2325688" cy="33575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7D5890-B3FF-4AE9-B6B0-D73571CAA3E1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08225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411463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79143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043512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32342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7906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515719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17767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627518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871645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33293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9024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B995CC09-87A8-4180-8415-86311711D6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3447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14" imgW="425" imgH="424" progId="TCLayout.ActiveDocument.1">
                  <p:embed/>
                </p:oleObj>
              </mc:Choice>
              <mc:Fallback>
                <p:oleObj name="Diapositive think-cell" r:id="rId14" imgW="425" imgH="424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B995CC09-87A8-4180-8415-86311711D6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C92A03-2AFE-443D-9E17-A30538511A89}" type="datetimeFigureOut">
              <a:rPr lang="fr-FR" smtClean="0"/>
              <a:t>12/07/2022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F2575C-30A9-4FD1-AAEA-1F4F85BD3861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53027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6" Type="http://schemas.openxmlformats.org/officeDocument/2006/relationships/hyperlink" Target="https://www.udpa-axa.org/" TargetMode="Externa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11" Type="http://schemas.openxmlformats.org/officeDocument/2006/relationships/image" Target="../media/image7.jpeg"/><Relationship Id="rId5" Type="http://schemas.openxmlformats.org/officeDocument/2006/relationships/image" Target="../media/image1.emf"/><Relationship Id="rId15" Type="http://schemas.openxmlformats.org/officeDocument/2006/relationships/image" Target="../media/image11.png"/><Relationship Id="rId10" Type="http://schemas.openxmlformats.org/officeDocument/2006/relationships/image" Target="../media/image6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cid:image002.png@01D89048.58BC2540" TargetMode="External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hyperlink" Target="https://www.udpa-axa.org/wp-content/uploads/2022/07/Cahier-de-vacances-UDPA-ete-2022.pdf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6B8F8BA-9978-43CB-A8DB-E8A662351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6069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5" imgH="424" progId="TCLayout.ActiveDocument.1">
                  <p:embed/>
                </p:oleObj>
              </mc:Choice>
              <mc:Fallback>
                <p:oleObj name="Diapositive think-cell" r:id="rId4" imgW="425" imgH="42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6B8F8BA-9978-43CB-A8DB-E8A662351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age 9" descr="Une image contenant signe, dessin&#10;&#10;Description générée automatiquement">
            <a:extLst>
              <a:ext uri="{FF2B5EF4-FFF2-40B4-BE49-F238E27FC236}">
                <a16:creationId xmlns:a16="http://schemas.microsoft.com/office/drawing/2014/main" id="{D15A2E60-ADAB-4406-92E8-9AA432FDAF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409" y="171659"/>
            <a:ext cx="1877572" cy="123444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F9194CB-EB30-45DD-A4CA-FD12B4BDA089}"/>
              </a:ext>
            </a:extLst>
          </p:cNvPr>
          <p:cNvSpPr/>
          <p:nvPr/>
        </p:nvSpPr>
        <p:spPr>
          <a:xfrm>
            <a:off x="3251879" y="-1581750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>
                <a:solidFill>
                  <a:srgbClr val="FFFFFF"/>
                </a:solidFill>
                <a:latin typeface="Gill Sans MT" panose="020B0502020104020203" pitchFamily="34" charset="0"/>
              </a:rPr>
              <a:t>n</a:t>
            </a:r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22D24C96-7543-474E-B00F-BCD0EF9041EE}"/>
              </a:ext>
            </a:extLst>
          </p:cNvPr>
          <p:cNvSpPr txBox="1"/>
          <p:nvPr/>
        </p:nvSpPr>
        <p:spPr>
          <a:xfrm>
            <a:off x="5007504" y="1320705"/>
            <a:ext cx="16660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b="1" i="1">
                <a:solidFill>
                  <a:srgbClr val="93C42D"/>
                </a:solidFill>
              </a:rPr>
              <a:t>Juillet 2022</a:t>
            </a:r>
          </a:p>
        </p:txBody>
      </p:sp>
      <p:sp>
        <p:nvSpPr>
          <p:cNvPr id="23" name="Text Box 50">
            <a:extLst>
              <a:ext uri="{FF2B5EF4-FFF2-40B4-BE49-F238E27FC236}">
                <a16:creationId xmlns:a16="http://schemas.microsoft.com/office/drawing/2014/main" id="{904A74E1-87FB-4FFF-BC99-7A1738BD52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97525" y="187587"/>
            <a:ext cx="4147344" cy="1123950"/>
          </a:xfrm>
          <a:prstGeom prst="rect">
            <a:avLst/>
          </a:prstGeom>
          <a:solidFill>
            <a:srgbClr val="FFC000">
              <a:alpha val="0"/>
            </a:srgbClr>
          </a:solidFill>
          <a:ln>
            <a:noFill/>
          </a:ln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pPr algn="ctr"/>
            <a:r>
              <a:rPr lang="fr-FR" sz="2800" b="1" u="sng">
                <a:solidFill>
                  <a:srgbClr val="25368C"/>
                </a:solidFill>
                <a:latin typeface="Publico Banner" panose="02040802060504060203" charset="0"/>
                <a:ea typeface="Calibri" panose="020F0502020204030204" pitchFamily="34" charset="0"/>
                <a:cs typeface="Publico Banner" panose="02040802060504060203" charset="0"/>
              </a:rPr>
              <a:t>Tout de GO</a:t>
            </a:r>
            <a:endParaRPr lang="fr-FR" sz="800">
              <a:solidFill>
                <a:srgbClr val="25368C"/>
              </a:solidFill>
              <a:latin typeface="Publico Banner" panose="02040802060504060203" charset="0"/>
              <a:ea typeface="Calibri" panose="020F0502020204030204" pitchFamily="34" charset="0"/>
              <a:cs typeface="Publico Banner" panose="02040802060504060203" charset="0"/>
            </a:endParaRPr>
          </a:p>
          <a:p>
            <a:pPr algn="ctr"/>
            <a:r>
              <a:rPr lang="fr-FR" sz="2601" b="1">
                <a:solidFill>
                  <a:srgbClr val="25368C"/>
                </a:solidFill>
                <a:latin typeface="Publico Banner" panose="02040802060504060203" charset="0"/>
                <a:ea typeface="Calibri" panose="020F0502020204030204" pitchFamily="34" charset="0"/>
                <a:cs typeface="Publico Banner" panose="02040802060504060203" charset="0"/>
              </a:rPr>
              <a:t>AXA Group Operations</a:t>
            </a:r>
            <a:endParaRPr lang="fr-FR" sz="1100">
              <a:solidFill>
                <a:srgbClr val="25368C"/>
              </a:solidFill>
              <a:latin typeface="Publico Banner" panose="02040802060504060203" charset="0"/>
              <a:ea typeface="Calibri" panose="020F0502020204030204" pitchFamily="34" charset="0"/>
              <a:cs typeface="Publico Banner" panose="02040802060504060203" charset="0"/>
            </a:endParaRPr>
          </a:p>
        </p:txBody>
      </p:sp>
      <p:pic>
        <p:nvPicPr>
          <p:cNvPr id="14" name="Picture 4" descr="Une image contenant texte&#10;&#10;Description générée automatiquement">
            <a:extLst>
              <a:ext uri="{FF2B5EF4-FFF2-40B4-BE49-F238E27FC236}">
                <a16:creationId xmlns:a16="http://schemas.microsoft.com/office/drawing/2014/main" id="{48C91AA5-2DD9-46BC-8804-B11498E59D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58031">
            <a:off x="5599941" y="256222"/>
            <a:ext cx="1115028" cy="973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oupe 8">
            <a:extLst>
              <a:ext uri="{FF2B5EF4-FFF2-40B4-BE49-F238E27FC236}">
                <a16:creationId xmlns:a16="http://schemas.microsoft.com/office/drawing/2014/main" id="{494B8CCD-2A62-49BF-B9E4-E16375FF83B6}"/>
              </a:ext>
            </a:extLst>
          </p:cNvPr>
          <p:cNvGrpSpPr/>
          <p:nvPr/>
        </p:nvGrpSpPr>
        <p:grpSpPr>
          <a:xfrm>
            <a:off x="2546806" y="1905933"/>
            <a:ext cx="4319146" cy="2666476"/>
            <a:chOff x="1059795" y="2532724"/>
            <a:chExt cx="4319146" cy="2666476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D3D970C-77AE-4A68-922C-8026907A284C}"/>
                </a:ext>
              </a:extLst>
            </p:cNvPr>
            <p:cNvSpPr/>
            <p:nvPr/>
          </p:nvSpPr>
          <p:spPr>
            <a:xfrm>
              <a:off x="1497525" y="2532724"/>
              <a:ext cx="1011608" cy="266647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grpSp>
          <p:nvGrpSpPr>
            <p:cNvPr id="3" name="Groupe 2">
              <a:extLst>
                <a:ext uri="{FF2B5EF4-FFF2-40B4-BE49-F238E27FC236}">
                  <a16:creationId xmlns:a16="http://schemas.microsoft.com/office/drawing/2014/main" id="{D72B052A-3527-4034-8448-62744F887DA6}"/>
                </a:ext>
              </a:extLst>
            </p:cNvPr>
            <p:cNvGrpSpPr/>
            <p:nvPr/>
          </p:nvGrpSpPr>
          <p:grpSpPr>
            <a:xfrm>
              <a:off x="1059795" y="2577867"/>
              <a:ext cx="1877572" cy="2021751"/>
              <a:chOff x="0" y="3853720"/>
              <a:chExt cx="1965728" cy="1965728"/>
            </a:xfrm>
          </p:grpSpPr>
          <p:pic>
            <p:nvPicPr>
              <p:cNvPr id="7" name="Image 6">
                <a:extLst>
                  <a:ext uri="{FF2B5EF4-FFF2-40B4-BE49-F238E27FC236}">
                    <a16:creationId xmlns:a16="http://schemas.microsoft.com/office/drawing/2014/main" id="{2E2F3257-514B-4313-9191-BF2FE78A446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0" y="3853720"/>
                <a:ext cx="1965728" cy="1965728"/>
              </a:xfrm>
              <a:prstGeom prst="rect">
                <a:avLst/>
              </a:prstGeom>
            </p:spPr>
          </p:pic>
          <p:pic>
            <p:nvPicPr>
              <p:cNvPr id="25" name="Image 24" descr="Une image contenant texte&#10;&#10;Description générée automatiquement">
                <a:extLst>
                  <a:ext uri="{FF2B5EF4-FFF2-40B4-BE49-F238E27FC236}">
                    <a16:creationId xmlns:a16="http://schemas.microsoft.com/office/drawing/2014/main" id="{36D51975-3EAA-446F-AF25-B3F7BE4C3D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78719" y="4417245"/>
                <a:ext cx="319038" cy="176610"/>
              </a:xfrm>
              <a:prstGeom prst="rect">
                <a:avLst/>
              </a:prstGeom>
            </p:spPr>
          </p:pic>
        </p:grp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2EC46C95-F4D5-4B92-89B5-0DF712E5F31C}"/>
                </a:ext>
              </a:extLst>
            </p:cNvPr>
            <p:cNvSpPr txBox="1"/>
            <p:nvPr/>
          </p:nvSpPr>
          <p:spPr>
            <a:xfrm>
              <a:off x="2739548" y="4768312"/>
              <a:ext cx="1278100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Frédéric Dortomb</a:t>
              </a:r>
            </a:p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06.31.34.56.54</a:t>
              </a:r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767D7717-AC37-4545-AA23-CADB80378425}"/>
                </a:ext>
              </a:extLst>
            </p:cNvPr>
            <p:cNvSpPr txBox="1"/>
            <p:nvPr/>
          </p:nvSpPr>
          <p:spPr>
            <a:xfrm>
              <a:off x="3958762" y="4768313"/>
              <a:ext cx="14201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Ange-Yannick Kombé</a:t>
              </a:r>
            </a:p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06.49.45.38.07</a:t>
              </a:r>
            </a:p>
          </p:txBody>
        </p: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6790621D-BC3F-496D-9488-8FAFFD5831C9}"/>
                </a:ext>
              </a:extLst>
            </p:cNvPr>
            <p:cNvSpPr txBox="1"/>
            <p:nvPr/>
          </p:nvSpPr>
          <p:spPr>
            <a:xfrm>
              <a:off x="2651253" y="3315981"/>
              <a:ext cx="14201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Hubert Laurioz</a:t>
              </a:r>
            </a:p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06.45.97.12.12</a:t>
              </a: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2E69D75F-3F2E-49DD-B0C1-E8C92424345D}"/>
                </a:ext>
              </a:extLst>
            </p:cNvPr>
            <p:cNvSpPr txBox="1"/>
            <p:nvPr/>
          </p:nvSpPr>
          <p:spPr>
            <a:xfrm>
              <a:off x="3907197" y="3295709"/>
              <a:ext cx="142017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François Tixier</a:t>
              </a:r>
            </a:p>
            <a:p>
              <a:pPr algn="ctr"/>
              <a:r>
                <a:rPr lang="fr-FR" sz="1100" b="1">
                  <a:solidFill>
                    <a:schemeClr val="accent1">
                      <a:lumMod val="75000"/>
                    </a:schemeClr>
                  </a:solidFill>
                </a:rPr>
                <a:t>06.07.82.59.41</a:t>
              </a:r>
            </a:p>
          </p:txBody>
        </p:sp>
        <p:pic>
          <p:nvPicPr>
            <p:cNvPr id="31" name="Image 30">
              <a:extLst>
                <a:ext uri="{FF2B5EF4-FFF2-40B4-BE49-F238E27FC236}">
                  <a16:creationId xmlns:a16="http://schemas.microsoft.com/office/drawing/2014/main" id="{730088AD-9E10-404E-A436-06A5C05BCE70}"/>
                </a:ext>
              </a:extLst>
            </p:cNvPr>
            <p:cNvPicPr/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0137" y="3995697"/>
              <a:ext cx="695403" cy="78728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2" name="Image 31">
              <a:extLst>
                <a:ext uri="{FF2B5EF4-FFF2-40B4-BE49-F238E27FC236}">
                  <a16:creationId xmlns:a16="http://schemas.microsoft.com/office/drawing/2014/main" id="{70DAB1A9-2DB0-485A-B74B-A57C00D9E9ED}"/>
                </a:ext>
              </a:extLst>
            </p:cNvPr>
            <p:cNvPicPr/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23518" y="4007692"/>
              <a:ext cx="661536" cy="78728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3" name="Image 32" descr="Une image contenant personne, ciel, homme, extérieur&#10;&#10;Description générée automatiquement">
              <a:extLst>
                <a:ext uri="{FF2B5EF4-FFF2-40B4-BE49-F238E27FC236}">
                  <a16:creationId xmlns:a16="http://schemas.microsoft.com/office/drawing/2014/main" id="{A4A8D6BD-9C55-4EA1-99E3-23D4BB8249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42" r="8674"/>
            <a:stretch/>
          </p:blipFill>
          <p:spPr>
            <a:xfrm>
              <a:off x="2994114" y="2541575"/>
              <a:ext cx="745185" cy="787288"/>
            </a:xfrm>
            <a:prstGeom prst="rect">
              <a:avLst/>
            </a:prstGeom>
          </p:spPr>
        </p:pic>
        <p:pic>
          <p:nvPicPr>
            <p:cNvPr id="34" name="Image 33">
              <a:extLst>
                <a:ext uri="{FF2B5EF4-FFF2-40B4-BE49-F238E27FC236}">
                  <a16:creationId xmlns:a16="http://schemas.microsoft.com/office/drawing/2014/main" id="{15045831-C71D-4FDC-AA81-09A0C07085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4229677" y="2547673"/>
              <a:ext cx="745863" cy="768308"/>
            </a:xfrm>
            <a:prstGeom prst="rect">
              <a:avLst/>
            </a:prstGeom>
          </p:spPr>
        </p:pic>
      </p:grpSp>
      <p:pic>
        <p:nvPicPr>
          <p:cNvPr id="35" name="Image 34">
            <a:extLst>
              <a:ext uri="{FF2B5EF4-FFF2-40B4-BE49-F238E27FC236}">
                <a16:creationId xmlns:a16="http://schemas.microsoft.com/office/drawing/2014/main" id="{F2691C6B-BC54-4BAD-B54E-A00B06780B5F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452464" y="5064313"/>
            <a:ext cx="2943331" cy="4202111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:a16="http://schemas.microsoft.com/office/drawing/2014/main" id="{EA772812-D49F-47A4-811A-7FAF83B8744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409181" y="1930393"/>
            <a:ext cx="2428123" cy="264201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F4384E31-9C20-4C8C-AAE6-33D3A9BB7387}"/>
              </a:ext>
            </a:extLst>
          </p:cNvPr>
          <p:cNvSpPr txBox="1"/>
          <p:nvPr/>
        </p:nvSpPr>
        <p:spPr>
          <a:xfrm>
            <a:off x="347132" y="5593852"/>
            <a:ext cx="3081867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400" b="0" i="0" dirty="0">
                <a:solidFill>
                  <a:srgbClr val="212529"/>
                </a:solidFill>
                <a:effectLst/>
                <a:latin typeface="-apple-system"/>
              </a:rPr>
              <a:t>Vous n’avez rien oublié pour la plage ?</a:t>
            </a:r>
          </a:p>
          <a:p>
            <a:pPr algn="l"/>
            <a:endParaRPr lang="fr-FR" sz="1400" b="0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/>
            <a:r>
              <a:rPr lang="fr-FR" sz="1400" b="0" i="0" dirty="0">
                <a:solidFill>
                  <a:srgbClr val="212529"/>
                </a:solidFill>
                <a:effectLst/>
                <a:latin typeface="-apple-system"/>
              </a:rPr>
              <a:t>Vos élus de l’UDPA vous ont concocté une nouvelle édition de leur célèbre </a:t>
            </a:r>
            <a:r>
              <a:rPr lang="fr-FR" sz="1400" b="1" i="0" u="none" strike="noStrike" dirty="0">
                <a:solidFill>
                  <a:srgbClr val="FF66CC"/>
                </a:solidFill>
                <a:effectLst/>
                <a:latin typeface="-apple-system"/>
              </a:rPr>
              <a:t>cahier de vacances</a:t>
            </a:r>
            <a:r>
              <a:rPr lang="fr-FR" sz="1400" b="1" u="none" strike="noStrike" dirty="0">
                <a:solidFill>
                  <a:srgbClr val="FF66CC"/>
                </a:solidFill>
                <a:latin typeface="-apple-system"/>
              </a:rPr>
              <a:t> </a:t>
            </a:r>
            <a:r>
              <a:rPr lang="fr-FR" sz="1400" u="none" strike="noStrike" dirty="0">
                <a:solidFill>
                  <a:srgbClr val="212529"/>
                </a:solidFill>
                <a:latin typeface="-apple-system"/>
              </a:rPr>
              <a:t>que vous retrouverez sur le </a:t>
            </a:r>
            <a:r>
              <a:rPr lang="fr-FR" sz="1400" u="none" strike="noStrike" dirty="0">
                <a:solidFill>
                  <a:srgbClr val="212529"/>
                </a:solidFill>
                <a:latin typeface="-apple-system"/>
                <a:hlinkClick r:id="rId16"/>
              </a:rPr>
              <a:t>site WEB de l’UDPA.</a:t>
            </a:r>
            <a:r>
              <a:rPr lang="fr-FR" sz="1400" u="none" strike="noStrike" dirty="0">
                <a:solidFill>
                  <a:srgbClr val="212529"/>
                </a:solidFill>
                <a:latin typeface="-apple-system"/>
              </a:rPr>
              <a:t> </a:t>
            </a:r>
          </a:p>
          <a:p>
            <a:pPr algn="l"/>
            <a:endParaRPr lang="fr-FR" sz="1400" b="0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/>
            <a:r>
              <a:rPr lang="fr-FR" sz="1400" b="0" i="0" dirty="0">
                <a:solidFill>
                  <a:srgbClr val="212529"/>
                </a:solidFill>
                <a:effectLst/>
                <a:latin typeface="-apple-system"/>
              </a:rPr>
              <a:t>Les réponses à la rentrée en septembre.</a:t>
            </a:r>
          </a:p>
          <a:p>
            <a:pPr algn="l"/>
            <a:r>
              <a:rPr lang="fr-FR" sz="1400" b="0" i="0" dirty="0">
                <a:solidFill>
                  <a:srgbClr val="212529"/>
                </a:solidFill>
                <a:effectLst/>
                <a:latin typeface="-apple-system"/>
              </a:rPr>
              <a:t>Bonnes vacances à toutes et tous</a:t>
            </a:r>
          </a:p>
          <a:p>
            <a:pPr algn="l"/>
            <a:endParaRPr lang="fr-FR" sz="1400" b="0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/>
            <a:r>
              <a:rPr lang="fr-FR" sz="1400" b="1" i="0" dirty="0">
                <a:solidFill>
                  <a:srgbClr val="212529"/>
                </a:solidFill>
                <a:effectLst/>
                <a:latin typeface="-apple-system"/>
              </a:rPr>
              <a:t>Vos élus de l’UDPA, </a:t>
            </a:r>
            <a:endParaRPr lang="fr-FR" sz="1400" b="0" i="0" dirty="0">
              <a:solidFill>
                <a:srgbClr val="212529"/>
              </a:solidFill>
              <a:effectLst/>
              <a:latin typeface="-apple-system"/>
            </a:endParaRPr>
          </a:p>
          <a:p>
            <a:pPr algn="l"/>
            <a:r>
              <a:rPr lang="fr-FR" sz="1400" b="1" i="0" dirty="0">
                <a:solidFill>
                  <a:srgbClr val="212529"/>
                </a:solidFill>
                <a:effectLst/>
                <a:latin typeface="-apple-system"/>
              </a:rPr>
              <a:t>Ange Yannick, Hubert, Thierry, Frédéric et François</a:t>
            </a:r>
            <a:endParaRPr lang="fr-FR" sz="1400" b="0" i="0" dirty="0">
              <a:solidFill>
                <a:srgbClr val="212529"/>
              </a:solidFill>
              <a:effectLst/>
              <a:latin typeface="-apple-system"/>
            </a:endParaRPr>
          </a:p>
        </p:txBody>
      </p:sp>
    </p:spTree>
    <p:extLst>
      <p:ext uri="{BB962C8B-B14F-4D97-AF65-F5344CB8AC3E}">
        <p14:creationId xmlns:p14="http://schemas.microsoft.com/office/powerpoint/2010/main" val="2637651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 5" hidden="1">
            <a:extLst>
              <a:ext uri="{FF2B5EF4-FFF2-40B4-BE49-F238E27FC236}">
                <a16:creationId xmlns:a16="http://schemas.microsoft.com/office/drawing/2014/main" id="{36B8F8BA-9978-43CB-A8DB-E8A662351C2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4" imgW="425" imgH="424" progId="TCLayout.ActiveDocument.1">
                  <p:embed/>
                </p:oleObj>
              </mc:Choice>
              <mc:Fallback>
                <p:oleObj name="Diapositive think-cell" r:id="rId4" imgW="425" imgH="424" progId="TCLayout.ActiveDocument.1">
                  <p:embed/>
                  <p:pic>
                    <p:nvPicPr>
                      <p:cNvPr id="6" name="Objet 5" hidden="1">
                        <a:extLst>
                          <a:ext uri="{FF2B5EF4-FFF2-40B4-BE49-F238E27FC236}">
                            <a16:creationId xmlns:a16="http://schemas.microsoft.com/office/drawing/2014/main" id="{36B8F8BA-9978-43CB-A8DB-E8A662351C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F9194CB-EB30-45DD-A4CA-FD12B4BDA089}"/>
              </a:ext>
            </a:extLst>
          </p:cNvPr>
          <p:cNvSpPr/>
          <p:nvPr/>
        </p:nvSpPr>
        <p:spPr>
          <a:xfrm>
            <a:off x="3251879" y="-1581750"/>
            <a:ext cx="3193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b="1">
                <a:solidFill>
                  <a:srgbClr val="FFFFFF"/>
                </a:solidFill>
                <a:latin typeface="Gill Sans MT" panose="020B0502020104020203" pitchFamily="34" charset="0"/>
              </a:rPr>
              <a:t>n</a:t>
            </a:r>
            <a:endParaRPr lang="fr-FR"/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F6863C3C-F6BD-4868-9563-0D508A26DB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618" y="1209616"/>
            <a:ext cx="6374762" cy="54014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able ouverte UDPA au restaurant Little Capri pour discuter du PDV en général et de ton cas en particulier, ou pour prendre du temps à te relaxer sur le nouveau </a:t>
            </a:r>
            <a:r>
              <a:rPr kumimoji="0" lang="fr-FR" altLang="fr-FR" sz="1600" b="1" i="0" u="sng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  <a:hlinkClick r:id="rId6" tooltip="https://www.udpa-axa.org/wp-content/uploads/2022/07/Cahier-de-vacances-UDPA-ete-2022.pdf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hier de vacances de l'UDPA</a:t>
            </a:r>
            <a:r>
              <a:rPr kumimoji="0" lang="fr-FR" altLang="fr-FR" sz="16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.</a:t>
            </a:r>
            <a:endParaRPr kumimoji="0" lang="fr-FR" altLang="fr-FR" sz="16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100" b="1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Ce PDV t’inquiète ?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 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u es concerné directement parce que ton poste est supprimé, ou parce que ton service va disparaître ou être déplacé dans une autre partie de l’organisation ?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u redoutes qu’on te mette plus ou moins subtilement la pression pour que tu finisses par partir, tout « Volontaire » le PDV soit-il en théorie… 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D’ailleurs, que se passerait-il pour toi si tu refusais la proposition de départ ?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 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u appartiens à un « profil menacé » ? Peut-être ne sais-tu pas si tu es concerné ? Peut-être ne comprends-tu pas trop ce qui est en train de se passer ?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 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Quelle que soit ta situation, tu te demandes tout simplement ce qu’il serait judicieux que tu fasses maintenant. </a:t>
            </a:r>
            <a:r>
              <a:rPr kumimoji="0" lang="fr-FR" altLang="fr-FR" sz="11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outes ces questions sont archi-légitimes ! 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La logique de la direction étant par ailleurs difficile à suivre et souvent… discutable, dirons-nous par euphémisme.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Heureusement, comme toujours à l’UDPA, nous sommes là pour t’aider, déterminés, pas impressionnés par qui que ce soit, et de bonne humeur par-dessus le marché !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 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Nous te donnons rendez-vous pour répondre à tes interrogations</a:t>
            </a: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, envisager les options disponibles, t’accompagner au besoin et t’aider au bout du compte à prendre la meilleure décision </a:t>
            </a:r>
            <a:r>
              <a:rPr kumimoji="0" lang="fr-FR" altLang="fr-FR" sz="1100" b="1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ous les vendredis de septembre de 12 à 14H à la sympathique terrasse du restaurant « Little Capri »</a:t>
            </a: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highlight>
                  <a:srgbClr val="FFFF00"/>
                </a:highlight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, </a:t>
            </a: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tout à côté d’Enjoy. 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 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Nous n’avons malheureusement pas les moyens de prendre en charge les frais de repas mais tu pourras bénéficier de 20% de réduction sur ton addition grâce à l’excellente négo réalisée avec cet établissement ! Parce que l’UDPA, c’est bon (aussi) pour le pouvoir d’achat.</a:t>
            </a:r>
            <a:endParaRPr kumimoji="0" lang="fr-FR" altLang="fr-FR" sz="1100" b="0" i="0" u="none" strike="noStrike" cap="none" normalizeH="0" baseline="0" dirty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pic>
        <p:nvPicPr>
          <p:cNvPr id="1027" name="Picture 3" descr="Une image contenant texte&#10;&#10;Description générée automatiquement">
            <a:extLst>
              <a:ext uri="{FF2B5EF4-FFF2-40B4-BE49-F238E27FC236}">
                <a16:creationId xmlns:a16="http://schemas.microsoft.com/office/drawing/2014/main" id="{9D9CCBD9-29DE-48D0-8B7E-9CACB79556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3431" y="6857663"/>
            <a:ext cx="4320826" cy="21491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ZoneTexte 25">
            <a:extLst>
              <a:ext uri="{FF2B5EF4-FFF2-40B4-BE49-F238E27FC236}">
                <a16:creationId xmlns:a16="http://schemas.microsoft.com/office/drawing/2014/main" id="{699D8396-D335-403D-8980-33CEC1ED9A18}"/>
              </a:ext>
            </a:extLst>
          </p:cNvPr>
          <p:cNvSpPr txBox="1"/>
          <p:nvPr/>
        </p:nvSpPr>
        <p:spPr>
          <a:xfrm>
            <a:off x="241617" y="6857663"/>
            <a:ext cx="1820364" cy="12772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Vendredi prochain ou en septembre donc,</a:t>
            </a:r>
            <a:r>
              <a:rPr kumimoji="0" lang="fr-FR" altLang="fr-FR" sz="1100" b="1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 passe nous voir pour discuter !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1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Nous t’attendons.</a:t>
            </a:r>
            <a:endParaRPr kumimoji="0" lang="fr-FR" altLang="fr-FR" sz="1100" b="0" i="0" u="none" strike="noStrike" cap="none" normalizeH="0" baseline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fr-FR" altLang="fr-FR" sz="1100" b="0" i="0" u="none" strike="noStrike" cap="none" normalizeH="0" baseline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  <a:latin typeface="Segoe UI" panose="020B0502040204020203" pitchFamily="34" charset="0"/>
              <a:ea typeface="Calibri" panose="020F0502020204030204" pitchFamily="34" charset="0"/>
              <a:cs typeface="Segoe UI" panose="020B0502040204020203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fr-FR" altLang="fr-FR" sz="1100" b="0" i="0" u="none" strike="noStrike" cap="none" normalizeH="0" baseline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latin typeface="Segoe UI" panose="020B0502040204020203" pitchFamily="34" charset="0"/>
                <a:ea typeface="Calibri" panose="020F0502020204030204" pitchFamily="34" charset="0"/>
                <a:cs typeface="Segoe UI" panose="020B0502040204020203" pitchFamily="34" charset="0"/>
              </a:rPr>
              <a:t>Little Capri, 3 Sq. Paul Paray, 75017 Paris</a:t>
            </a:r>
            <a:endParaRPr kumimoji="0" lang="fr-FR" altLang="fr-FR" sz="1100" b="0" i="0" u="none" strike="noStrike" cap="none" normalizeH="0" baseline="0">
              <a:ln>
                <a:noFill/>
              </a:ln>
              <a:solidFill>
                <a:schemeClr val="accent1">
                  <a:lumMod val="75000"/>
                </a:schemeClr>
              </a:solidFill>
              <a:effectLst/>
            </a:endParaRPr>
          </a:p>
        </p:txBody>
      </p:sp>
      <p:sp>
        <p:nvSpPr>
          <p:cNvPr id="37" name="Rectangle 5">
            <a:extLst>
              <a:ext uri="{FF2B5EF4-FFF2-40B4-BE49-F238E27FC236}">
                <a16:creationId xmlns:a16="http://schemas.microsoft.com/office/drawing/2014/main" id="{BE6CEB25-9EB3-4338-A8EB-143A496EB7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1617" y="489120"/>
            <a:ext cx="6374763" cy="410115"/>
          </a:xfrm>
          <a:prstGeom prst="rect">
            <a:avLst/>
          </a:prstGeom>
          <a:solidFill>
            <a:srgbClr val="25368C"/>
          </a:solidFill>
          <a:ln>
            <a:solidFill>
              <a:schemeClr val="accent1">
                <a:lumMod val="75000"/>
              </a:schemeClr>
            </a:solidFill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contourClr>
              <a:srgbClr val="FFFFFF"/>
            </a:contourClr>
          </a:sp3d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 defTabSz="91443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600" b="1" cap="small">
                <a:solidFill>
                  <a:srgbClr val="FFFFFF"/>
                </a:solidFill>
                <a:latin typeface="Gill Sans MT"/>
              </a:rPr>
              <a:t>PDV : Plan de Départ Volontaire ou Pizza Du Vendredi ?</a:t>
            </a:r>
          </a:p>
        </p:txBody>
      </p:sp>
    </p:spTree>
    <p:extLst>
      <p:ext uri="{BB962C8B-B14F-4D97-AF65-F5344CB8AC3E}">
        <p14:creationId xmlns:p14="http://schemas.microsoft.com/office/powerpoint/2010/main" val="28821491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478a982-d908-41fc-9db6-264587ba2b61">
      <UserInfo>
        <DisplayName>LAURIOZ Hubert</DisplayName>
        <AccountId>12</AccountId>
        <AccountType/>
      </UserInfo>
      <UserInfo>
        <DisplayName>KOMBE Ange Yannick</DisplayName>
        <AccountId>14</AccountId>
        <AccountType/>
      </UserInfo>
      <UserInfo>
        <DisplayName>BASTIDE Thierry</DisplayName>
        <AccountId>16</AccountId>
        <AccountType/>
      </UserInfo>
      <UserInfo>
        <DisplayName>DORTOMB Frederic</DisplayName>
        <AccountId>6</AccountId>
        <AccountType/>
      </UserInfo>
    </SharedWithUsers>
    <TaxCatchAll xmlns="4478a982-d908-41fc-9db6-264587ba2b61" xsi:nil="true"/>
    <lcf76f155ced4ddcb4097134ff3c332f xmlns="3c084425-34c3-40f0-84a0-5721acec2072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B6758A6E71C054B9A3A3C51206F5149" ma:contentTypeVersion="16" ma:contentTypeDescription="Create a new document." ma:contentTypeScope="" ma:versionID="150a557a9f263efa1f8443df98ae4179">
  <xsd:schema xmlns:xsd="http://www.w3.org/2001/XMLSchema" xmlns:xs="http://www.w3.org/2001/XMLSchema" xmlns:p="http://schemas.microsoft.com/office/2006/metadata/properties" xmlns:ns2="3c084425-34c3-40f0-84a0-5721acec2072" xmlns:ns3="4478a982-d908-41fc-9db6-264587ba2b61" targetNamespace="http://schemas.microsoft.com/office/2006/metadata/properties" ma:root="true" ma:fieldsID="467090e961959af4d5674762421f0bfb" ns2:_="" ns3:_="">
    <xsd:import namespace="3c084425-34c3-40f0-84a0-5721acec2072"/>
    <xsd:import namespace="4478a982-d908-41fc-9db6-264587ba2b6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084425-34c3-40f0-84a0-5721acec207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bc7cd8e4-056a-4b9a-a096-56d591af496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478a982-d908-41fc-9db6-264587ba2b61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7535e8e-fdf1-44ae-81cc-e94b78ec6ea7}" ma:internalName="TaxCatchAll" ma:showField="CatchAllData" ma:web="4478a982-d908-41fc-9db6-264587ba2b6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626D9F8-2FDF-4C44-8D0C-12AB64E080F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A36851D-6B88-4F40-AF68-4A9826D0072A}">
  <ds:schemaRefs>
    <ds:schemaRef ds:uri="http://purl.org/dc/terms/"/>
    <ds:schemaRef ds:uri="http://schemas.microsoft.com/office/2006/metadata/properties"/>
    <ds:schemaRef ds:uri="3c084425-34c3-40f0-84a0-5721acec2072"/>
    <ds:schemaRef ds:uri="http://schemas.microsoft.com/office/2006/documentManagement/types"/>
    <ds:schemaRef ds:uri="http://purl.org/dc/dcmitype/"/>
    <ds:schemaRef ds:uri="http://purl.org/dc/elements/1.1/"/>
    <ds:schemaRef ds:uri="4478a982-d908-41fc-9db6-264587ba2b61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717720F2-1C46-4993-9CE1-09713F87A9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084425-34c3-40f0-84a0-5721acec2072"/>
    <ds:schemaRef ds:uri="4478a982-d908-41fc-9db6-264587ba2b6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453</Words>
  <Application>Microsoft Office PowerPoint</Application>
  <PresentationFormat>Format A4 (210 x 297 mm)</PresentationFormat>
  <Paragraphs>46</Paragraphs>
  <Slides>2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11" baseType="lpstr">
      <vt:lpstr>-apple-system</vt:lpstr>
      <vt:lpstr>Arial</vt:lpstr>
      <vt:lpstr>Calibri</vt:lpstr>
      <vt:lpstr>Calibri Light</vt:lpstr>
      <vt:lpstr>Gill Sans MT</vt:lpstr>
      <vt:lpstr>Publico Banner</vt:lpstr>
      <vt:lpstr>Segoe UI</vt:lpstr>
      <vt:lpstr>Thème Office</vt:lpstr>
      <vt:lpstr>Diapositive think-cell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mmanuel facquez</dc:creator>
  <cp:lastModifiedBy>TIXIER Francois</cp:lastModifiedBy>
  <cp:revision>1</cp:revision>
  <cp:lastPrinted>2021-06-08T15:28:08Z</cp:lastPrinted>
  <dcterms:created xsi:type="dcterms:W3CDTF">2019-03-29T11:30:48Z</dcterms:created>
  <dcterms:modified xsi:type="dcterms:W3CDTF">2022-07-12T13:02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6758A6E71C054B9A3A3C51206F5149</vt:lpwstr>
  </property>
  <property fmtid="{D5CDD505-2E9C-101B-9397-08002B2CF9AE}" pid="3" name="MSIP_Label_65722654-0696-4b8f-bb0e-68bcd3f909d4_Enabled">
    <vt:lpwstr>True</vt:lpwstr>
  </property>
  <property fmtid="{D5CDD505-2E9C-101B-9397-08002B2CF9AE}" pid="4" name="MSIP_Label_65722654-0696-4b8f-bb0e-68bcd3f909d4_SiteId">
    <vt:lpwstr>396b38cc-aa65-492b-bb0e-3d94ed25a97b</vt:lpwstr>
  </property>
  <property fmtid="{D5CDD505-2E9C-101B-9397-08002B2CF9AE}" pid="5" name="MSIP_Label_65722654-0696-4b8f-bb0e-68bcd3f909d4_Owner">
    <vt:lpwstr>sylvaine.hardy@axa.fr</vt:lpwstr>
  </property>
  <property fmtid="{D5CDD505-2E9C-101B-9397-08002B2CF9AE}" pid="6" name="MSIP_Label_65722654-0696-4b8f-bb0e-68bcd3f909d4_SetDate">
    <vt:lpwstr>2020-03-23T09:11:22.3302864Z</vt:lpwstr>
  </property>
  <property fmtid="{D5CDD505-2E9C-101B-9397-08002B2CF9AE}" pid="7" name="MSIP_Label_65722654-0696-4b8f-bb0e-68bcd3f909d4_Name">
    <vt:lpwstr>AXA FR Public</vt:lpwstr>
  </property>
  <property fmtid="{D5CDD505-2E9C-101B-9397-08002B2CF9AE}" pid="8" name="MSIP_Label_65722654-0696-4b8f-bb0e-68bcd3f909d4_Application">
    <vt:lpwstr>Microsoft Azure Information Protection</vt:lpwstr>
  </property>
  <property fmtid="{D5CDD505-2E9C-101B-9397-08002B2CF9AE}" pid="9" name="MSIP_Label_65722654-0696-4b8f-bb0e-68bcd3f909d4_Extended_MSFT_Method">
    <vt:lpwstr>Automatic</vt:lpwstr>
  </property>
  <property fmtid="{D5CDD505-2E9C-101B-9397-08002B2CF9AE}" pid="10" name="Sensitivity">
    <vt:lpwstr>AXA FR Public</vt:lpwstr>
  </property>
  <property fmtid="{D5CDD505-2E9C-101B-9397-08002B2CF9AE}" pid="11" name="MediaServiceImageTags">
    <vt:lpwstr/>
  </property>
</Properties>
</file>